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138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2</c:v>
                </c:pt>
                <c:pt idx="1">
                  <c:v>13</c:v>
                </c:pt>
                <c:pt idx="2">
                  <c:v>14</c:v>
                </c:pt>
                <c:pt idx="3">
                  <c:v>16</c:v>
                </c:pt>
                <c:pt idx="4">
                  <c:v>16</c:v>
                </c:pt>
                <c:pt idx="5">
                  <c:v>23</c:v>
                </c:pt>
                <c:pt idx="6">
                  <c:v>26</c:v>
                </c:pt>
                <c:pt idx="7">
                  <c:v>24</c:v>
                </c:pt>
                <c:pt idx="8">
                  <c:v>22</c:v>
                </c:pt>
                <c:pt idx="9">
                  <c:v>24</c:v>
                </c:pt>
                <c:pt idx="10">
                  <c:v>27</c:v>
                </c:pt>
                <c:pt idx="11">
                  <c:v>31</c:v>
                </c:pt>
                <c:pt idx="12">
                  <c:v>35</c:v>
                </c:pt>
                <c:pt idx="13">
                  <c:v>41</c:v>
                </c:pt>
                <c:pt idx="14">
                  <c:v>38</c:v>
                </c:pt>
                <c:pt idx="15">
                  <c:v>43</c:v>
                </c:pt>
                <c:pt idx="16">
                  <c:v>45</c:v>
                </c:pt>
                <c:pt idx="17">
                  <c:v>42</c:v>
                </c:pt>
                <c:pt idx="18">
                  <c:v>39</c:v>
                </c:pt>
                <c:pt idx="19">
                  <c:v>41</c:v>
                </c:pt>
                <c:pt idx="20">
                  <c:v>39</c:v>
                </c:pt>
                <c:pt idx="21">
                  <c:v>37</c:v>
                </c:pt>
                <c:pt idx="22">
                  <c:v>38</c:v>
                </c:pt>
                <c:pt idx="23">
                  <c:v>42</c:v>
                </c:pt>
                <c:pt idx="24">
                  <c:v>46</c:v>
                </c:pt>
                <c:pt idx="25">
                  <c:v>45</c:v>
                </c:pt>
                <c:pt idx="26">
                  <c:v>49</c:v>
                </c:pt>
                <c:pt idx="27">
                  <c:v>53</c:v>
                </c:pt>
                <c:pt idx="28">
                  <c:v>51</c:v>
                </c:pt>
                <c:pt idx="29">
                  <c:v>50</c:v>
                </c:pt>
                <c:pt idx="30">
                  <c:v>45</c:v>
                </c:pt>
                <c:pt idx="31">
                  <c:v>43</c:v>
                </c:pt>
                <c:pt idx="32">
                  <c:v>50</c:v>
                </c:pt>
                <c:pt idx="33">
                  <c:v>56</c:v>
                </c:pt>
                <c:pt idx="34">
                  <c:v>70</c:v>
                </c:pt>
                <c:pt idx="35">
                  <c:v>84</c:v>
                </c:pt>
                <c:pt idx="36">
                  <c:v>74</c:v>
                </c:pt>
                <c:pt idx="37">
                  <c:v>77</c:v>
                </c:pt>
                <c:pt idx="38">
                  <c:v>76</c:v>
                </c:pt>
                <c:pt idx="39">
                  <c:v>76</c:v>
                </c:pt>
                <c:pt idx="40">
                  <c:v>98</c:v>
                </c:pt>
                <c:pt idx="41">
                  <c:v>111</c:v>
                </c:pt>
                <c:pt idx="42">
                  <c:v>112</c:v>
                </c:pt>
                <c:pt idx="43">
                  <c:v>114</c:v>
                </c:pt>
                <c:pt idx="44">
                  <c:v>113</c:v>
                </c:pt>
                <c:pt idx="45">
                  <c:v>109</c:v>
                </c:pt>
                <c:pt idx="46">
                  <c:v>113</c:v>
                </c:pt>
                <c:pt idx="47">
                  <c:v>130</c:v>
                </c:pt>
                <c:pt idx="48">
                  <c:v>143</c:v>
                </c:pt>
                <c:pt idx="49">
                  <c:v>136</c:v>
                </c:pt>
                <c:pt idx="50">
                  <c:v>140</c:v>
                </c:pt>
                <c:pt idx="51">
                  <c:v>149</c:v>
                </c:pt>
                <c:pt idx="52">
                  <c:v>150</c:v>
                </c:pt>
                <c:pt idx="53">
                  <c:v>162</c:v>
                </c:pt>
                <c:pt idx="54">
                  <c:v>170</c:v>
                </c:pt>
                <c:pt idx="55">
                  <c:v>192</c:v>
                </c:pt>
                <c:pt idx="56">
                  <c:v>213</c:v>
                </c:pt>
                <c:pt idx="57">
                  <c:v>207</c:v>
                </c:pt>
                <c:pt idx="58">
                  <c:v>236</c:v>
                </c:pt>
                <c:pt idx="59">
                  <c:v>238</c:v>
                </c:pt>
                <c:pt idx="60">
                  <c:v>265</c:v>
                </c:pt>
                <c:pt idx="61">
                  <c:v>309</c:v>
                </c:pt>
                <c:pt idx="62">
                  <c:v>313</c:v>
                </c:pt>
                <c:pt idx="63">
                  <c:v>342</c:v>
                </c:pt>
                <c:pt idx="64">
                  <c:v>339</c:v>
                </c:pt>
                <c:pt idx="65">
                  <c:v>371</c:v>
                </c:pt>
                <c:pt idx="66">
                  <c:v>374</c:v>
                </c:pt>
                <c:pt idx="67">
                  <c:v>3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3.013535765110404</c:v>
                </c:pt>
                <c:pt idx="50">
                  <c:v>63.238591550741219</c:v>
                </c:pt>
                <c:pt idx="51">
                  <c:v>63.429461423676926</c:v>
                </c:pt>
                <c:pt idx="52">
                  <c:v>63.591588589058759</c:v>
                </c:pt>
                <c:pt idx="53">
                  <c:v>63.729897498090793</c:v>
                </c:pt>
                <c:pt idx="54">
                  <c:v>63.848213842117516</c:v>
                </c:pt>
                <c:pt idx="55">
                  <c:v>63.949441620981574</c:v>
                </c:pt>
                <c:pt idx="56">
                  <c:v>64.036020590188542</c:v>
                </c:pt>
                <c:pt idx="57">
                  <c:v>64.109785678235227</c:v>
                </c:pt>
                <c:pt idx="58">
                  <c:v>64.172633368203989</c:v>
                </c:pt>
                <c:pt idx="59">
                  <c:v>64.226179459437688</c:v>
                </c:pt>
                <c:pt idx="60">
                  <c:v>64.271800609361136</c:v>
                </c:pt>
                <c:pt idx="61">
                  <c:v>64.310669727020056</c:v>
                </c:pt>
                <c:pt idx="62">
                  <c:v>64.343786128297054</c:v>
                </c:pt>
                <c:pt idx="63">
                  <c:v>64.37200122808818</c:v>
                </c:pt>
                <c:pt idx="64">
                  <c:v>64.396040429979848</c:v>
                </c:pt>
                <c:pt idx="65">
                  <c:v>64.416521776204618</c:v>
                </c:pt>
                <c:pt idx="66">
                  <c:v>64.433971837361781</c:v>
                </c:pt>
                <c:pt idx="67">
                  <c:v>64.448839250423745</c:v>
                </c:pt>
                <c:pt idx="68">
                  <c:v>64.461506253087194</c:v>
                </c:pt>
                <c:pt idx="69">
                  <c:v>64.472298511014458</c:v>
                </c:pt>
                <c:pt idx="70">
                  <c:v>64.481493490621176</c:v>
                </c:pt>
                <c:pt idx="71">
                  <c:v>64.489327592672652</c:v>
                </c:pt>
                <c:pt idx="72">
                  <c:v>64.496002230091975</c:v>
                </c:pt>
                <c:pt idx="73">
                  <c:v>64.501689006238962</c:v>
                </c:pt>
                <c:pt idx="74">
                  <c:v>64.506534126792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7.92845870150758</c:v>
                </c:pt>
                <c:pt idx="50">
                  <c:v>79.739455753279827</c:v>
                </c:pt>
                <c:pt idx="51">
                  <c:v>81.565031281366572</c:v>
                </c:pt>
                <c:pt idx="52">
                  <c:v>83.407320023933465</c:v>
                </c:pt>
                <c:pt idx="53">
                  <c:v>85.267986439288251</c:v>
                </c:pt>
                <c:pt idx="54">
                  <c:v>87.148354125801561</c:v>
                </c:pt>
                <c:pt idx="55">
                  <c:v>89.049305780970514</c:v>
                </c:pt>
                <c:pt idx="56">
                  <c:v>90.971493063567678</c:v>
                </c:pt>
                <c:pt idx="57">
                  <c:v>92.915453719887509</c:v>
                </c:pt>
                <c:pt idx="58">
                  <c:v>94.881434385524557</c:v>
                </c:pt>
                <c:pt idx="59">
                  <c:v>96.869684489812045</c:v>
                </c:pt>
                <c:pt idx="60">
                  <c:v>98.880456287467666</c:v>
                </c:pt>
                <c:pt idx="61">
                  <c:v>100.91400489059782</c:v>
                </c:pt>
                <c:pt idx="62">
                  <c:v>102.9705883010644</c:v>
                </c:pt>
                <c:pt idx="63">
                  <c:v>105.05046744321815</c:v>
                </c:pt>
                <c:pt idx="64">
                  <c:v>107.15390619700293</c:v>
                </c:pt>
                <c:pt idx="65">
                  <c:v>109.28117143143479</c:v>
                </c:pt>
                <c:pt idx="66">
                  <c:v>111.43253303846043</c:v>
                </c:pt>
                <c:pt idx="67">
                  <c:v>113.60826396719914</c:v>
                </c:pt>
                <c:pt idx="68">
                  <c:v>115.80864025857251</c:v>
                </c:pt>
                <c:pt idx="69">
                  <c:v>118.03394108032661</c:v>
                </c:pt>
                <c:pt idx="70">
                  <c:v>120.28444876245071</c:v>
                </c:pt>
                <c:pt idx="71">
                  <c:v>122.56044883299722</c:v>
                </c:pt>
                <c:pt idx="72">
                  <c:v>124.86223005430749</c:v>
                </c:pt>
                <c:pt idx="73">
                  <c:v>127.19008445964781</c:v>
                </c:pt>
                <c:pt idx="74">
                  <c:v>129.54430739026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9.102282855760137</c:v>
                </c:pt>
                <c:pt idx="50">
                  <c:v>103.34619011046043</c:v>
                </c:pt>
                <c:pt idx="51">
                  <c:v>107.74008335844871</c:v>
                </c:pt>
                <c:pt idx="52">
                  <c:v>112.28815268958219</c:v>
                </c:pt>
                <c:pt idx="53">
                  <c:v>116.99467698397557</c:v>
                </c:pt>
                <c:pt idx="54">
                  <c:v>121.86400103985673</c:v>
                </c:pt>
                <c:pt idx="55">
                  <c:v>126.90048897297123</c:v>
                </c:pt>
                <c:pt idx="56">
                  <c:v>132.10852035796799</c:v>
                </c:pt>
                <c:pt idx="57">
                  <c:v>137.49249271702266</c:v>
                </c:pt>
                <c:pt idx="58">
                  <c:v>143.05834979817823</c:v>
                </c:pt>
                <c:pt idx="59">
                  <c:v>148.81223614489213</c:v>
                </c:pt>
                <c:pt idx="60">
                  <c:v>154.76050387943246</c:v>
                </c:pt>
                <c:pt idx="61">
                  <c:v>160.9097197154353</c:v>
                </c:pt>
                <c:pt idx="62">
                  <c:v>167.26667220736448</c:v>
                </c:pt>
                <c:pt idx="63">
                  <c:v>173.83837924487722</c:v>
                </c:pt>
                <c:pt idx="64">
                  <c:v>180.63209580036906</c:v>
                </c:pt>
                <c:pt idx="65">
                  <c:v>187.65532193825126</c:v>
                </c:pt>
                <c:pt idx="66">
                  <c:v>194.91581109480259</c:v>
                </c:pt>
                <c:pt idx="67">
                  <c:v>202.42157863773625</c:v>
                </c:pt>
                <c:pt idx="68">
                  <c:v>210.1809107149314</c:v>
                </c:pt>
                <c:pt idx="69">
                  <c:v>218.20237340209817</c:v>
                </c:pt>
                <c:pt idx="70">
                  <c:v>226.49482215947469</c:v>
                </c:pt>
                <c:pt idx="71">
                  <c:v>235.06741160799626</c:v>
                </c:pt>
                <c:pt idx="72">
                  <c:v>243.92960563572916</c:v>
                </c:pt>
                <c:pt idx="73">
                  <c:v>253.09118784572632</c:v>
                </c:pt>
                <c:pt idx="74">
                  <c:v>262.562272356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8.60536267506225</c:v>
                </c:pt>
                <c:pt idx="50">
                  <c:v>162.15505356669482</c:v>
                </c:pt>
                <c:pt idx="51">
                  <c:v>176.89057358412362</c:v>
                </c:pt>
                <c:pt idx="52">
                  <c:v>193.86221563992714</c:v>
                </c:pt>
                <c:pt idx="53">
                  <c:v>212.05095839544327</c:v>
                </c:pt>
                <c:pt idx="54">
                  <c:v>231.25377899268108</c:v>
                </c:pt>
                <c:pt idx="55">
                  <c:v>252.13620000782822</c:v>
                </c:pt>
                <c:pt idx="56">
                  <c:v>275.50881486402591</c:v>
                </c:pt>
                <c:pt idx="57">
                  <c:v>300.70709479140015</c:v>
                </c:pt>
                <c:pt idx="58">
                  <c:v>328.33328512922179</c:v>
                </c:pt>
                <c:pt idx="59">
                  <c:v>357.57064110531019</c:v>
                </c:pt>
                <c:pt idx="60">
                  <c:v>389.34556922622573</c:v>
                </c:pt>
                <c:pt idx="61">
                  <c:v>422.81166775439448</c:v>
                </c:pt>
                <c:pt idx="62">
                  <c:v>457.67944972688412</c:v>
                </c:pt>
                <c:pt idx="63">
                  <c:v>494.14781283013025</c:v>
                </c:pt>
                <c:pt idx="64">
                  <c:v>530.68328138338791</c:v>
                </c:pt>
                <c:pt idx="65">
                  <c:v>567.90589254645135</c:v>
                </c:pt>
                <c:pt idx="66">
                  <c:v>604.50024234800242</c:v>
                </c:pt>
                <c:pt idx="67">
                  <c:v>641.14990093332904</c:v>
                </c:pt>
                <c:pt idx="68">
                  <c:v>677.17251498938504</c:v>
                </c:pt>
                <c:pt idx="69">
                  <c:v>712.86766703730848</c:v>
                </c:pt>
                <c:pt idx="70">
                  <c:v>747.68775720968927</c:v>
                </c:pt>
                <c:pt idx="71">
                  <c:v>781.33775236237955</c:v>
                </c:pt>
                <c:pt idx="72">
                  <c:v>814.22112885678837</c:v>
                </c:pt>
                <c:pt idx="73">
                  <c:v>845.98228690641599</c:v>
                </c:pt>
                <c:pt idx="74">
                  <c:v>876.50591223405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1</c:v>
                </c:pt>
                <c:pt idx="25">
                  <c:v>1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1</c:v>
                </c:pt>
                <c:pt idx="31">
                  <c:v>1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2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4</c:v>
                </c:pt>
                <c:pt idx="48">
                  <c:v>5</c:v>
                </c:pt>
                <c:pt idx="49">
                  <c:v>5</c:v>
                </c:pt>
                <c:pt idx="50">
                  <c:v>4</c:v>
                </c:pt>
                <c:pt idx="51">
                  <c:v>5</c:v>
                </c:pt>
                <c:pt idx="52">
                  <c:v>5</c:v>
                </c:pt>
                <c:pt idx="53">
                  <c:v>4</c:v>
                </c:pt>
                <c:pt idx="54">
                  <c:v>3</c:v>
                </c:pt>
                <c:pt idx="55">
                  <c:v>3</c:v>
                </c:pt>
                <c:pt idx="56">
                  <c:v>4</c:v>
                </c:pt>
                <c:pt idx="57">
                  <c:v>4</c:v>
                </c:pt>
                <c:pt idx="58">
                  <c:v>5</c:v>
                </c:pt>
                <c:pt idx="59">
                  <c:v>5</c:v>
                </c:pt>
                <c:pt idx="60">
                  <c:v>5</c:v>
                </c:pt>
                <c:pt idx="61">
                  <c:v>5</c:v>
                </c:pt>
                <c:pt idx="62">
                  <c:v>5</c:v>
                </c:pt>
                <c:pt idx="63">
                  <c:v>4</c:v>
                </c:pt>
                <c:pt idx="64">
                  <c:v>4</c:v>
                </c:pt>
                <c:pt idx="65">
                  <c:v>5</c:v>
                </c:pt>
                <c:pt idx="66">
                  <c:v>5</c:v>
                </c:pt>
                <c:pt idx="67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.0470498906744905</c:v>
                </c:pt>
                <c:pt idx="50">
                  <c:v>2.0543610249534576</c:v>
                </c:pt>
                <c:pt idx="51">
                  <c:v>2.0605615999217082</c:v>
                </c:pt>
                <c:pt idx="52">
                  <c:v>2.0658284428649032</c:v>
                </c:pt>
                <c:pt idx="53">
                  <c:v>2.0703215288927801</c:v>
                </c:pt>
                <c:pt idx="54">
                  <c:v>2.074165138938846</c:v>
                </c:pt>
                <c:pt idx="55">
                  <c:v>2.0774536119810398</c:v>
                </c:pt>
                <c:pt idx="56">
                  <c:v>2.0802662056134693</c:v>
                </c:pt>
                <c:pt idx="57">
                  <c:v>2.0826625290952121</c:v>
                </c:pt>
                <c:pt idx="58">
                  <c:v>2.0847041913399602</c:v>
                </c:pt>
                <c:pt idx="59">
                  <c:v>2.0864436830043318</c:v>
                </c:pt>
                <c:pt idx="60">
                  <c:v>2.0879257260103192</c:v>
                </c:pt>
                <c:pt idx="61">
                  <c:v>2.089188423335397</c:v>
                </c:pt>
                <c:pt idx="62">
                  <c:v>2.0902642386311188</c:v>
                </c:pt>
                <c:pt idx="63">
                  <c:v>2.0911808308559721</c:v>
                </c:pt>
                <c:pt idx="64">
                  <c:v>2.0919617653807014</c:v>
                </c:pt>
                <c:pt idx="65">
                  <c:v>2.092627119848455</c:v>
                </c:pt>
                <c:pt idx="66">
                  <c:v>2.0931940003662723</c:v>
                </c:pt>
                <c:pt idx="67">
                  <c:v>2.0936769812990765</c:v>
                </c:pt>
                <c:pt idx="68">
                  <c:v>2.0940884799731716</c:v>
                </c:pt>
                <c:pt idx="69">
                  <c:v>2.0944390759227858</c:v>
                </c:pt>
                <c:pt idx="70">
                  <c:v>2.0947377828874112</c:v>
                </c:pt>
                <c:pt idx="71">
                  <c:v>2.0949922805529249</c:v>
                </c:pt>
                <c:pt idx="72">
                  <c:v>2.0952091119945133</c:v>
                </c:pt>
                <c:pt idx="73">
                  <c:v>2.0953938518975934</c:v>
                </c:pt>
                <c:pt idx="74">
                  <c:v>2.09555124988166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.5315742233540597</c:v>
                </c:pt>
                <c:pt idx="50">
                  <c:v>2.5904060484822544</c:v>
                </c:pt>
                <c:pt idx="51">
                  <c:v>2.6497114681799876</c:v>
                </c:pt>
                <c:pt idx="52">
                  <c:v>2.7095598312859739</c:v>
                </c:pt>
                <c:pt idx="53">
                  <c:v>2.7700052091859177</c:v>
                </c:pt>
                <c:pt idx="54">
                  <c:v>2.8310906001319713</c:v>
                </c:pt>
                <c:pt idx="55">
                  <c:v>2.8928446793253131</c:v>
                </c:pt>
                <c:pt idx="56">
                  <c:v>2.9552886164718313</c:v>
                </c:pt>
                <c:pt idx="57">
                  <c:v>3.0184398807308086</c:v>
                </c:pt>
                <c:pt idx="58">
                  <c:v>3.0823064842755152</c:v>
                </c:pt>
                <c:pt idx="59">
                  <c:v>3.1468965300362668</c:v>
                </c:pt>
                <c:pt idx="60">
                  <c:v>3.2122182127284691</c:v>
                </c:pt>
                <c:pt idx="61">
                  <c:v>3.278279819892302</c:v>
                </c:pt>
                <c:pt idx="62">
                  <c:v>3.3450897329441824</c:v>
                </c:pt>
                <c:pt idx="63">
                  <c:v>3.4126564282401377</c:v>
                </c:pt>
                <c:pt idx="64">
                  <c:v>3.4809884781512248</c:v>
                </c:pt>
                <c:pt idx="65">
                  <c:v>3.5500945521511298</c:v>
                </c:pt>
                <c:pt idx="66">
                  <c:v>3.6199834179160875</c:v>
                </c:pt>
                <c:pt idx="67">
                  <c:v>3.69066394243726</c:v>
                </c:pt>
                <c:pt idx="68">
                  <c:v>3.7621450931457172</c:v>
                </c:pt>
                <c:pt idx="69">
                  <c:v>3.8344359390501581</c:v>
                </c:pt>
                <c:pt idx="70">
                  <c:v>3.9075456518875229</c:v>
                </c:pt>
                <c:pt idx="71">
                  <c:v>3.981483507286633</c:v>
                </c:pt>
                <c:pt idx="72">
                  <c:v>4.0562588859450175</c:v>
                </c:pt>
                <c:pt idx="73">
                  <c:v>4.131881274819067</c:v>
                </c:pt>
                <c:pt idx="74">
                  <c:v>4.2083602683276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3.2194244430543546</c:v>
                </c:pt>
                <c:pt idx="50">
                  <c:v>3.3572914866392511</c:v>
                </c:pt>
                <c:pt idx="51">
                  <c:v>3.5000309565597747</c:v>
                </c:pt>
                <c:pt idx="52">
                  <c:v>3.6477789715542235</c:v>
                </c:pt>
                <c:pt idx="53">
                  <c:v>3.8006745347901667</c:v>
                </c:pt>
                <c:pt idx="54">
                  <c:v>3.9588587908428035</c:v>
                </c:pt>
                <c:pt idx="55">
                  <c:v>4.1224735118338112</c:v>
                </c:pt>
                <c:pt idx="56">
                  <c:v>4.2916609720808809</c:v>
                </c:pt>
                <c:pt idx="57">
                  <c:v>4.4665640289428259</c:v>
                </c:pt>
                <c:pt idx="58">
                  <c:v>4.6473757702798011</c:v>
                </c:pt>
                <c:pt idx="59">
                  <c:v>4.8342958069668347</c:v>
                </c:pt>
                <c:pt idx="60">
                  <c:v>5.0275304932583991</c:v>
                </c:pt>
                <c:pt idx="61">
                  <c:v>5.2272931545974739</c:v>
                </c:pt>
                <c:pt idx="62">
                  <c:v>5.4338043231205972</c:v>
                </c:pt>
                <c:pt idx="63">
                  <c:v>5.6472919811188929</c:v>
                </c:pt>
                <c:pt idx="64">
                  <c:v>5.8679918127238535</c:v>
                </c:pt>
                <c:pt idx="65">
                  <c:v>6.0961474640957327</c:v>
                </c:pt>
                <c:pt idx="66">
                  <c:v>6.3320108124017791</c:v>
                </c:pt>
                <c:pt idx="67">
                  <c:v>6.5758422438812616</c:v>
                </c:pt>
                <c:pt idx="68">
                  <c:v>6.8279109413042685</c:v>
                </c:pt>
                <c:pt idx="69">
                  <c:v>7.0884951811416075</c:v>
                </c:pt>
                <c:pt idx="70">
                  <c:v>7.3578826407738953</c:v>
                </c:pt>
                <c:pt idx="71">
                  <c:v>7.6363707160789742</c:v>
                </c:pt>
                <c:pt idx="72">
                  <c:v>7.9242668497482631</c:v>
                </c:pt>
                <c:pt idx="73">
                  <c:v>8.2218888706944995</c:v>
                </c:pt>
                <c:pt idx="74">
                  <c:v>8.52956534492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5.0063063464561157</c:v>
                </c:pt>
                <c:pt idx="50">
                  <c:v>5.4935511701508686</c:v>
                </c:pt>
                <c:pt idx="51">
                  <c:v>6.0076822711722997</c:v>
                </c:pt>
                <c:pt idx="52">
                  <c:v>6.6170621401366798</c:v>
                </c:pt>
                <c:pt idx="53">
                  <c:v>7.2656292542833221</c:v>
                </c:pt>
                <c:pt idx="54">
                  <c:v>7.9379030975976939</c:v>
                </c:pt>
                <c:pt idx="55">
                  <c:v>8.6530791074293916</c:v>
                </c:pt>
                <c:pt idx="56">
                  <c:v>9.4578927825308909</c:v>
                </c:pt>
                <c:pt idx="57">
                  <c:v>10.315899770372654</c:v>
                </c:pt>
                <c:pt idx="58">
                  <c:v>11.26713117792578</c:v>
                </c:pt>
                <c:pt idx="59">
                  <c:v>12.272199902572545</c:v>
                </c:pt>
                <c:pt idx="60">
                  <c:v>13.362312956182532</c:v>
                </c:pt>
                <c:pt idx="61">
                  <c:v>14.507957309201238</c:v>
                </c:pt>
                <c:pt idx="62">
                  <c:v>15.700312994855949</c:v>
                </c:pt>
                <c:pt idx="63">
                  <c:v>16.953587290790203</c:v>
                </c:pt>
                <c:pt idx="64">
                  <c:v>18.205144071416889</c:v>
                </c:pt>
                <c:pt idx="65">
                  <c:v>19.489914222526565</c:v>
                </c:pt>
                <c:pt idx="66">
                  <c:v>20.749148013425579</c:v>
                </c:pt>
                <c:pt idx="67">
                  <c:v>22.021704650175838</c:v>
                </c:pt>
                <c:pt idx="68">
                  <c:v>23.271924544143825</c:v>
                </c:pt>
                <c:pt idx="69">
                  <c:v>24.513705482231927</c:v>
                </c:pt>
                <c:pt idx="70">
                  <c:v>25.727577145441593</c:v>
                </c:pt>
                <c:pt idx="71">
                  <c:v>26.902564392544157</c:v>
                </c:pt>
                <c:pt idx="72">
                  <c:v>28.058901501717166</c:v>
                </c:pt>
                <c:pt idx="73">
                  <c:v>29.176841009324356</c:v>
                </c:pt>
                <c:pt idx="74">
                  <c:v>30.2534729093939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3</c:v>
                </c:pt>
                <c:pt idx="42">
                  <c:v>3</c:v>
                </c:pt>
                <c:pt idx="43">
                  <c:v>2</c:v>
                </c:pt>
                <c:pt idx="44">
                  <c:v>1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2</c:v>
                </c:pt>
                <c:pt idx="54">
                  <c:v>3</c:v>
                </c:pt>
                <c:pt idx="55">
                  <c:v>4</c:v>
                </c:pt>
                <c:pt idx="56">
                  <c:v>6</c:v>
                </c:pt>
                <c:pt idx="57">
                  <c:v>5</c:v>
                </c:pt>
                <c:pt idx="58">
                  <c:v>6</c:v>
                </c:pt>
                <c:pt idx="59">
                  <c:v>5</c:v>
                </c:pt>
                <c:pt idx="60">
                  <c:v>4</c:v>
                </c:pt>
                <c:pt idx="61">
                  <c:v>5</c:v>
                </c:pt>
                <c:pt idx="62">
                  <c:v>5</c:v>
                </c:pt>
                <c:pt idx="63">
                  <c:v>6</c:v>
                </c:pt>
                <c:pt idx="64">
                  <c:v>4</c:v>
                </c:pt>
                <c:pt idx="65">
                  <c:v>6</c:v>
                </c:pt>
                <c:pt idx="66">
                  <c:v>5</c:v>
                </c:pt>
                <c:pt idx="6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3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4</c:v>
                </c:pt>
                <c:pt idx="11">
                  <c:v>4</c:v>
                </c:pt>
                <c:pt idx="12">
                  <c:v>3</c:v>
                </c:pt>
                <c:pt idx="13">
                  <c:v>2</c:v>
                </c:pt>
                <c:pt idx="14">
                  <c:v>1</c:v>
                </c:pt>
                <c:pt idx="15">
                  <c:v>3</c:v>
                </c:pt>
                <c:pt idx="16">
                  <c:v>5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4</c:v>
                </c:pt>
                <c:pt idx="25">
                  <c:v>4</c:v>
                </c:pt>
                <c:pt idx="26">
                  <c:v>5</c:v>
                </c:pt>
                <c:pt idx="27">
                  <c:v>6</c:v>
                </c:pt>
                <c:pt idx="28">
                  <c:v>7</c:v>
                </c:pt>
                <c:pt idx="29">
                  <c:v>6</c:v>
                </c:pt>
                <c:pt idx="30">
                  <c:v>6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9</c:v>
                </c:pt>
                <c:pt idx="35">
                  <c:v>12</c:v>
                </c:pt>
                <c:pt idx="36">
                  <c:v>10</c:v>
                </c:pt>
                <c:pt idx="37">
                  <c:v>10</c:v>
                </c:pt>
                <c:pt idx="38">
                  <c:v>12</c:v>
                </c:pt>
                <c:pt idx="39">
                  <c:v>13</c:v>
                </c:pt>
                <c:pt idx="40">
                  <c:v>14</c:v>
                </c:pt>
                <c:pt idx="41">
                  <c:v>18</c:v>
                </c:pt>
                <c:pt idx="42">
                  <c:v>17</c:v>
                </c:pt>
                <c:pt idx="43">
                  <c:v>16</c:v>
                </c:pt>
                <c:pt idx="44">
                  <c:v>17</c:v>
                </c:pt>
                <c:pt idx="45">
                  <c:v>17</c:v>
                </c:pt>
                <c:pt idx="46">
                  <c:v>21</c:v>
                </c:pt>
                <c:pt idx="47">
                  <c:v>24</c:v>
                </c:pt>
                <c:pt idx="48">
                  <c:v>28</c:v>
                </c:pt>
                <c:pt idx="49">
                  <c:v>27</c:v>
                </c:pt>
                <c:pt idx="50">
                  <c:v>26</c:v>
                </c:pt>
                <c:pt idx="51">
                  <c:v>24</c:v>
                </c:pt>
                <c:pt idx="52">
                  <c:v>27</c:v>
                </c:pt>
                <c:pt idx="53">
                  <c:v>27</c:v>
                </c:pt>
                <c:pt idx="54">
                  <c:v>32</c:v>
                </c:pt>
                <c:pt idx="55">
                  <c:v>36</c:v>
                </c:pt>
                <c:pt idx="56">
                  <c:v>37</c:v>
                </c:pt>
                <c:pt idx="57">
                  <c:v>38</c:v>
                </c:pt>
                <c:pt idx="58">
                  <c:v>48</c:v>
                </c:pt>
                <c:pt idx="59">
                  <c:v>54</c:v>
                </c:pt>
                <c:pt idx="60">
                  <c:v>55</c:v>
                </c:pt>
                <c:pt idx="61">
                  <c:v>58</c:v>
                </c:pt>
                <c:pt idx="62">
                  <c:v>66</c:v>
                </c:pt>
                <c:pt idx="63">
                  <c:v>71</c:v>
                </c:pt>
                <c:pt idx="64">
                  <c:v>68</c:v>
                </c:pt>
                <c:pt idx="65">
                  <c:v>71</c:v>
                </c:pt>
                <c:pt idx="66">
                  <c:v>75</c:v>
                </c:pt>
                <c:pt idx="67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1.4812798216091</c:v>
                </c:pt>
                <c:pt idx="50">
                  <c:v>11.522285748652003</c:v>
                </c:pt>
                <c:pt idx="51">
                  <c:v>11.557062886517407</c:v>
                </c:pt>
                <c:pt idx="52">
                  <c:v>11.586603005633588</c:v>
                </c:pt>
                <c:pt idx="53">
                  <c:v>11.611803357702984</c:v>
                </c:pt>
                <c:pt idx="54">
                  <c:v>11.633360996657006</c:v>
                </c:pt>
                <c:pt idx="55">
                  <c:v>11.65180504111105</c:v>
                </c:pt>
                <c:pt idx="56">
                  <c:v>11.667580022788592</c:v>
                </c:pt>
                <c:pt idx="57">
                  <c:v>11.681020271881843</c:v>
                </c:pt>
                <c:pt idx="58">
                  <c:v>11.692471334037169</c:v>
                </c:pt>
                <c:pt idx="59">
                  <c:v>11.702227613372122</c:v>
                </c:pt>
                <c:pt idx="60">
                  <c:v>11.71053994153614</c:v>
                </c:pt>
                <c:pt idx="61">
                  <c:v>11.717622026533316</c:v>
                </c:pt>
                <c:pt idx="62">
                  <c:v>11.723655947104973</c:v>
                </c:pt>
                <c:pt idx="63">
                  <c:v>11.728796833931321</c:v>
                </c:pt>
                <c:pt idx="64">
                  <c:v>11.733176858004803</c:v>
                </c:pt>
                <c:pt idx="65">
                  <c:v>11.736908628715248</c:v>
                </c:pt>
                <c:pt idx="66">
                  <c:v>11.740088089010834</c:v>
                </c:pt>
                <c:pt idx="67">
                  <c:v>11.742796982068734</c:v>
                </c:pt>
                <c:pt idx="68">
                  <c:v>11.745104952893007</c:v>
                </c:pt>
                <c:pt idx="69">
                  <c:v>11.74707133887128</c:v>
                </c:pt>
                <c:pt idx="70">
                  <c:v>11.748746695325046</c:v>
                </c:pt>
                <c:pt idx="71">
                  <c:v>11.750174095275103</c:v>
                </c:pt>
                <c:pt idx="72">
                  <c:v>11.751390236838793</c:v>
                </c:pt>
                <c:pt idx="73">
                  <c:v>11.752426386729981</c:v>
                </c:pt>
                <c:pt idx="74">
                  <c:v>11.7533091841189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4.198829339681467</c:v>
                </c:pt>
                <c:pt idx="50">
                  <c:v>14.528799141487427</c:v>
                </c:pt>
                <c:pt idx="51">
                  <c:v>14.861425191096453</c:v>
                </c:pt>
                <c:pt idx="52">
                  <c:v>15.197096445038726</c:v>
                </c:pt>
                <c:pt idx="53">
                  <c:v>15.536116173260149</c:v>
                </c:pt>
                <c:pt idx="54">
                  <c:v>15.878725539870624</c:v>
                </c:pt>
                <c:pt idx="55">
                  <c:v>16.225085375346325</c:v>
                </c:pt>
                <c:pt idx="56">
                  <c:v>16.57531441412462</c:v>
                </c:pt>
                <c:pt idx="57">
                  <c:v>16.929510635403233</c:v>
                </c:pt>
                <c:pt idx="58">
                  <c:v>17.287718977023545</c:v>
                </c:pt>
                <c:pt idx="59">
                  <c:v>17.649984885855584</c:v>
                </c:pt>
                <c:pt idx="60">
                  <c:v>18.016354323564027</c:v>
                </c:pt>
                <c:pt idx="61">
                  <c:v>18.386873772439436</c:v>
                </c:pt>
                <c:pt idx="62">
                  <c:v>18.761590241295632</c:v>
                </c:pt>
                <c:pt idx="63">
                  <c:v>19.140551271433818</c:v>
                </c:pt>
                <c:pt idx="64">
                  <c:v>19.523804942674264</c:v>
                </c:pt>
                <c:pt idx="65">
                  <c:v>19.91139987945634</c:v>
                </c:pt>
                <c:pt idx="66">
                  <c:v>20.303385257007623</c:v>
                </c:pt>
                <c:pt idx="67">
                  <c:v>20.699810807582896</c:v>
                </c:pt>
                <c:pt idx="68">
                  <c:v>21.100726826773805</c:v>
                </c:pt>
                <c:pt idx="69">
                  <c:v>21.50618417989002</c:v>
                </c:pt>
                <c:pt idx="70">
                  <c:v>21.91623430841263</c:v>
                </c:pt>
                <c:pt idx="71">
                  <c:v>22.330929236520682</c:v>
                </c:pt>
                <c:pt idx="72">
                  <c:v>22.750321577691622</c:v>
                </c:pt>
                <c:pt idx="73">
                  <c:v>23.174464541376508</c:v>
                </c:pt>
                <c:pt idx="74">
                  <c:v>23.603411939750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8.056771876261383</c:v>
                </c:pt>
                <c:pt idx="50">
                  <c:v>18.830026164194063</c:v>
                </c:pt>
                <c:pt idx="51">
                  <c:v>19.630608408530911</c:v>
                </c:pt>
                <c:pt idx="52">
                  <c:v>20.459282057847606</c:v>
                </c:pt>
                <c:pt idx="53">
                  <c:v>21.31682673860572</c:v>
                </c:pt>
                <c:pt idx="54">
                  <c:v>22.204034087770509</c:v>
                </c:pt>
                <c:pt idx="55">
                  <c:v>23.121699262024421</c:v>
                </c:pt>
                <c:pt idx="56">
                  <c:v>24.070620234714507</c:v>
                </c:pt>
                <c:pt idx="57">
                  <c:v>25.051598249288027</c:v>
                </c:pt>
                <c:pt idx="58">
                  <c:v>26.065716276786713</c:v>
                </c:pt>
                <c:pt idx="59">
                  <c:v>27.114093873857467</c:v>
                </c:pt>
                <c:pt idx="60">
                  <c:v>28.197888418710154</c:v>
                </c:pt>
                <c:pt idx="61">
                  <c:v>29.318296388829317</c:v>
                </c:pt>
                <c:pt idx="62">
                  <c:v>30.47655468185031</c:v>
                </c:pt>
                <c:pt idx="63">
                  <c:v>31.673941981058139</c:v>
                </c:pt>
                <c:pt idx="64">
                  <c:v>32.911780167016396</c:v>
                </c:pt>
                <c:pt idx="65">
                  <c:v>34.191435776884767</c:v>
                </c:pt>
                <c:pt idx="66">
                  <c:v>35.514321513036066</c:v>
                </c:pt>
                <c:pt idx="67">
                  <c:v>36.881897802638385</c:v>
                </c:pt>
                <c:pt idx="68">
                  <c:v>38.295674409923947</c:v>
                </c:pt>
                <c:pt idx="69">
                  <c:v>39.757212102924669</c:v>
                </c:pt>
                <c:pt idx="70">
                  <c:v>41.268124376514457</c:v>
                </c:pt>
                <c:pt idx="71">
                  <c:v>42.830079233660342</c:v>
                </c:pt>
                <c:pt idx="72">
                  <c:v>44.444801026848964</c:v>
                </c:pt>
                <c:pt idx="73">
                  <c:v>46.114072361721327</c:v>
                </c:pt>
                <c:pt idx="74">
                  <c:v>47.8397360650172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6.791191775350562</c:v>
                </c:pt>
                <c:pt idx="50">
                  <c:v>29.184877690900592</c:v>
                </c:pt>
                <c:pt idx="51">
                  <c:v>31.813194448668884</c:v>
                </c:pt>
                <c:pt idx="52">
                  <c:v>34.812866202743564</c:v>
                </c:pt>
                <c:pt idx="53">
                  <c:v>38.034858474013348</c:v>
                </c:pt>
                <c:pt idx="54">
                  <c:v>41.456358225524795</c:v>
                </c:pt>
                <c:pt idx="55">
                  <c:v>45.202495043168213</c:v>
                </c:pt>
                <c:pt idx="56">
                  <c:v>49.388404357754638</c:v>
                </c:pt>
                <c:pt idx="57">
                  <c:v>53.916714041009648</c:v>
                </c:pt>
                <c:pt idx="58">
                  <c:v>58.864495703766067</c:v>
                </c:pt>
                <c:pt idx="59">
                  <c:v>64.103448073733432</c:v>
                </c:pt>
                <c:pt idx="60">
                  <c:v>69.800591271804109</c:v>
                </c:pt>
                <c:pt idx="61">
                  <c:v>75.804926534217998</c:v>
                </c:pt>
                <c:pt idx="62">
                  <c:v>82.062776008117623</c:v>
                </c:pt>
                <c:pt idx="63">
                  <c:v>88.598019028131233</c:v>
                </c:pt>
                <c:pt idx="64">
                  <c:v>95.151708294914869</c:v>
                </c:pt>
                <c:pt idx="65">
                  <c:v>101.8132181132228</c:v>
                </c:pt>
                <c:pt idx="66">
                  <c:v>108.36843754938526</c:v>
                </c:pt>
                <c:pt idx="67">
                  <c:v>114.91534173411557</c:v>
                </c:pt>
                <c:pt idx="68">
                  <c:v>121.35113455473295</c:v>
                </c:pt>
                <c:pt idx="69">
                  <c:v>127.72375374985103</c:v>
                </c:pt>
                <c:pt idx="70">
                  <c:v>133.93610730635027</c:v>
                </c:pt>
                <c:pt idx="71">
                  <c:v>139.93665843713541</c:v>
                </c:pt>
                <c:pt idx="72">
                  <c:v>145.78754903821033</c:v>
                </c:pt>
                <c:pt idx="73">
                  <c:v>151.43706553768612</c:v>
                </c:pt>
                <c:pt idx="74">
                  <c:v>156.862863114256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2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3</c:v>
                </c:pt>
                <c:pt idx="33">
                  <c:v>3</c:v>
                </c:pt>
                <c:pt idx="34">
                  <c:v>2</c:v>
                </c:pt>
                <c:pt idx="35">
                  <c:v>3</c:v>
                </c:pt>
                <c:pt idx="36">
                  <c:v>3</c:v>
                </c:pt>
                <c:pt idx="37">
                  <c:v>4</c:v>
                </c:pt>
                <c:pt idx="38">
                  <c:v>4</c:v>
                </c:pt>
                <c:pt idx="39">
                  <c:v>3</c:v>
                </c:pt>
                <c:pt idx="40">
                  <c:v>3</c:v>
                </c:pt>
                <c:pt idx="41">
                  <c:v>7</c:v>
                </c:pt>
                <c:pt idx="42">
                  <c:v>8</c:v>
                </c:pt>
                <c:pt idx="43">
                  <c:v>8</c:v>
                </c:pt>
                <c:pt idx="44">
                  <c:v>8</c:v>
                </c:pt>
                <c:pt idx="45">
                  <c:v>6</c:v>
                </c:pt>
                <c:pt idx="46">
                  <c:v>6</c:v>
                </c:pt>
                <c:pt idx="47">
                  <c:v>8</c:v>
                </c:pt>
                <c:pt idx="48">
                  <c:v>10</c:v>
                </c:pt>
                <c:pt idx="49">
                  <c:v>10</c:v>
                </c:pt>
                <c:pt idx="50">
                  <c:v>10</c:v>
                </c:pt>
                <c:pt idx="51">
                  <c:v>10</c:v>
                </c:pt>
                <c:pt idx="52">
                  <c:v>10</c:v>
                </c:pt>
                <c:pt idx="53">
                  <c:v>11</c:v>
                </c:pt>
                <c:pt idx="54">
                  <c:v>10</c:v>
                </c:pt>
                <c:pt idx="55">
                  <c:v>11</c:v>
                </c:pt>
                <c:pt idx="56">
                  <c:v>10</c:v>
                </c:pt>
                <c:pt idx="57">
                  <c:v>12</c:v>
                </c:pt>
                <c:pt idx="58">
                  <c:v>12</c:v>
                </c:pt>
                <c:pt idx="59">
                  <c:v>12</c:v>
                </c:pt>
                <c:pt idx="60">
                  <c:v>13</c:v>
                </c:pt>
                <c:pt idx="61">
                  <c:v>16</c:v>
                </c:pt>
                <c:pt idx="62">
                  <c:v>21</c:v>
                </c:pt>
                <c:pt idx="63">
                  <c:v>22</c:v>
                </c:pt>
                <c:pt idx="64">
                  <c:v>25</c:v>
                </c:pt>
                <c:pt idx="65">
                  <c:v>31</c:v>
                </c:pt>
                <c:pt idx="66">
                  <c:v>34</c:v>
                </c:pt>
                <c:pt idx="67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4.5391106271477835</c:v>
                </c:pt>
                <c:pt idx="50">
                  <c:v>4.5553222727228846</c:v>
                </c:pt>
                <c:pt idx="51">
                  <c:v>4.5690713737394395</c:v>
                </c:pt>
                <c:pt idx="52">
                  <c:v>4.580750025483046</c:v>
                </c:pt>
                <c:pt idx="53">
                  <c:v>4.5907129553709467</c:v>
                </c:pt>
                <c:pt idx="54">
                  <c:v>4.5992357428643977</c:v>
                </c:pt>
                <c:pt idx="55">
                  <c:v>4.6065275743927403</c:v>
                </c:pt>
                <c:pt idx="56">
                  <c:v>4.6127641950559548</c:v>
                </c:pt>
                <c:pt idx="57">
                  <c:v>4.6180777819067753</c:v>
                </c:pt>
                <c:pt idx="58">
                  <c:v>4.6226049460146941</c:v>
                </c:pt>
                <c:pt idx="59">
                  <c:v>4.6264620797052576</c:v>
                </c:pt>
                <c:pt idx="60">
                  <c:v>4.6297483489794038</c:v>
                </c:pt>
                <c:pt idx="61">
                  <c:v>4.6325482430480553</c:v>
                </c:pt>
                <c:pt idx="62">
                  <c:v>4.6349337465298728</c:v>
                </c:pt>
                <c:pt idx="63">
                  <c:v>4.6369661901588941</c:v>
                </c:pt>
                <c:pt idx="64">
                  <c:v>4.638697827583294</c:v>
                </c:pt>
                <c:pt idx="65">
                  <c:v>4.6401731787944005</c:v>
                </c:pt>
                <c:pt idx="66">
                  <c:v>4.6414301747252136</c:v>
                </c:pt>
                <c:pt idx="67">
                  <c:v>4.6425011324457781</c:v>
                </c:pt>
                <c:pt idx="68">
                  <c:v>4.6434135860274672</c:v>
                </c:pt>
                <c:pt idx="69">
                  <c:v>4.6441909944374826</c:v>
                </c:pt>
                <c:pt idx="70">
                  <c:v>4.6448533446633897</c:v>
                </c:pt>
                <c:pt idx="71">
                  <c:v>4.6454176655738779</c:v>
                </c:pt>
                <c:pt idx="72">
                  <c:v>4.6458984657269644</c:v>
                </c:pt>
                <c:pt idx="73">
                  <c:v>4.6463081063816203</c:v>
                </c:pt>
                <c:pt idx="74">
                  <c:v>4.64665711930283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5.6134906691763939</c:v>
                </c:pt>
                <c:pt idx="50">
                  <c:v>5.743943846634564</c:v>
                </c:pt>
                <c:pt idx="51">
                  <c:v>5.8754471685730163</c:v>
                </c:pt>
                <c:pt idx="52">
                  <c:v>6.0081544085036818</c:v>
                </c:pt>
                <c:pt idx="53">
                  <c:v>6.142185463847035</c:v>
                </c:pt>
                <c:pt idx="54">
                  <c:v>6.2776356785535024</c:v>
                </c:pt>
                <c:pt idx="55">
                  <c:v>6.4145686367648249</c:v>
                </c:pt>
                <c:pt idx="56">
                  <c:v>6.5530312800027568</c:v>
                </c:pt>
                <c:pt idx="57">
                  <c:v>6.693062344229185</c:v>
                </c:pt>
                <c:pt idx="58">
                  <c:v>6.8346795955674473</c:v>
                </c:pt>
                <c:pt idx="59">
                  <c:v>6.9779010013847662</c:v>
                </c:pt>
                <c:pt idx="60">
                  <c:v>7.1227447325718236</c:v>
                </c:pt>
                <c:pt idx="61">
                  <c:v>7.2692291658481487</c:v>
                </c:pt>
                <c:pt idx="62">
                  <c:v>7.4173728860936219</c:v>
                </c:pt>
                <c:pt idx="63">
                  <c:v>7.567194688706393</c:v>
                </c:pt>
                <c:pt idx="64">
                  <c:v>7.7187135819874992</c:v>
                </c:pt>
                <c:pt idx="65">
                  <c:v>7.8719487895525058</c:v>
                </c:pt>
                <c:pt idx="66">
                  <c:v>8.0269197527704552</c:v>
                </c:pt>
                <c:pt idx="67">
                  <c:v>8.1836461332304467</c:v>
                </c:pt>
                <c:pt idx="68">
                  <c:v>8.3421478152361548</c:v>
                </c:pt>
                <c:pt idx="69">
                  <c:v>8.5024449083286129</c:v>
                </c:pt>
                <c:pt idx="70">
                  <c:v>8.6645577498375506</c:v>
                </c:pt>
                <c:pt idx="71">
                  <c:v>8.828506907461664</c:v>
                </c:pt>
                <c:pt idx="72">
                  <c:v>8.9943131818780824</c:v>
                </c:pt>
                <c:pt idx="73">
                  <c:v>9.1619976093814106</c:v>
                </c:pt>
                <c:pt idx="74">
                  <c:v>9.33158146455266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7.1387237650335695</c:v>
                </c:pt>
                <c:pt idx="50">
                  <c:v>7.4444289486348616</c:v>
                </c:pt>
                <c:pt idx="51">
                  <c:v>7.7609382080238483</c:v>
                </c:pt>
                <c:pt idx="52">
                  <c:v>8.0885533717071922</c:v>
                </c:pt>
                <c:pt idx="53">
                  <c:v>8.4275826640999352</c:v>
                </c:pt>
                <c:pt idx="54">
                  <c:v>8.7783390579557814</c:v>
                </c:pt>
                <c:pt idx="55">
                  <c:v>9.1411369175445376</c:v>
                </c:pt>
                <c:pt idx="56">
                  <c:v>9.5162917207010835</c:v>
                </c:pt>
                <c:pt idx="57">
                  <c:v>9.9041202380906146</c:v>
                </c:pt>
                <c:pt idx="58">
                  <c:v>10.305050621055212</c:v>
                </c:pt>
                <c:pt idx="59">
                  <c:v>10.719525485013417</c:v>
                </c:pt>
                <c:pt idx="60">
                  <c:v>11.148002398094711</c:v>
                </c:pt>
                <c:pt idx="61">
                  <c:v>11.590954386281357</c:v>
                </c:pt>
                <c:pt idx="62">
                  <c:v>12.048870455615239</c:v>
                </c:pt>
                <c:pt idx="63">
                  <c:v>12.522256132046241</c:v>
                </c:pt>
                <c:pt idx="64">
                  <c:v>13.011634019518111</c:v>
                </c:pt>
                <c:pt idx="65">
                  <c:v>13.51754437690793</c:v>
                </c:pt>
                <c:pt idx="66">
                  <c:v>14.040545714456119</c:v>
                </c:pt>
                <c:pt idx="67">
                  <c:v>14.581215410345408</c:v>
                </c:pt>
                <c:pt idx="68">
                  <c:v>15.140150348109465</c:v>
                </c:pt>
                <c:pt idx="69">
                  <c:v>15.717967575574869</c:v>
                </c:pt>
                <c:pt idx="70">
                  <c:v>16.315304986063854</c:v>
                </c:pt>
                <c:pt idx="71">
                  <c:v>16.932822022609901</c:v>
                </c:pt>
                <c:pt idx="72">
                  <c:v>17.571200405963541</c:v>
                </c:pt>
                <c:pt idx="73">
                  <c:v>18.231144887192151</c:v>
                </c:pt>
                <c:pt idx="74">
                  <c:v>18.9133840257045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0.854983230555993</c:v>
                </c:pt>
                <c:pt idx="50">
                  <c:v>11.870619551693244</c:v>
                </c:pt>
                <c:pt idx="51">
                  <c:v>12.961886486370174</c:v>
                </c:pt>
                <c:pt idx="52">
                  <c:v>14.233247907197551</c:v>
                </c:pt>
                <c:pt idx="53">
                  <c:v>15.591986269608153</c:v>
                </c:pt>
                <c:pt idx="54">
                  <c:v>17.016002312234676</c:v>
                </c:pt>
                <c:pt idx="55">
                  <c:v>18.551196457209638</c:v>
                </c:pt>
                <c:pt idx="56">
                  <c:v>20.273122897752586</c:v>
                </c:pt>
                <c:pt idx="57">
                  <c:v>22.121414778372753</c:v>
                </c:pt>
                <c:pt idx="58">
                  <c:v>24.156671990027561</c:v>
                </c:pt>
                <c:pt idx="59">
                  <c:v>26.309247273212002</c:v>
                </c:pt>
                <c:pt idx="60">
                  <c:v>28.646808687093124</c:v>
                </c:pt>
                <c:pt idx="61">
                  <c:v>31.106689849665536</c:v>
                </c:pt>
                <c:pt idx="62">
                  <c:v>33.668529411385464</c:v>
                </c:pt>
                <c:pt idx="63">
                  <c:v>36.35317109144755</c:v>
                </c:pt>
                <c:pt idx="64">
                  <c:v>39.039367823573883</c:v>
                </c:pt>
                <c:pt idx="65">
                  <c:v>41.784224254185361</c:v>
                </c:pt>
                <c:pt idx="66">
                  <c:v>44.479511637179307</c:v>
                </c:pt>
                <c:pt idx="67">
                  <c:v>47.188479593234831</c:v>
                </c:pt>
                <c:pt idx="68">
                  <c:v>49.850624617226188</c:v>
                </c:pt>
                <c:pt idx="69">
                  <c:v>52.491031156574429</c:v>
                </c:pt>
                <c:pt idx="70">
                  <c:v>55.068839247674127</c:v>
                </c:pt>
                <c:pt idx="71">
                  <c:v>57.561626533379837</c:v>
                </c:pt>
                <c:pt idx="72">
                  <c:v>60.004452660951983</c:v>
                </c:pt>
                <c:pt idx="73">
                  <c:v>62.364807832491557</c:v>
                </c:pt>
                <c:pt idx="74">
                  <c:v>64.6350888730397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1</c:v>
                </c:pt>
                <c:pt idx="36">
                  <c:v>2</c:v>
                </c:pt>
                <c:pt idx="37">
                  <c:v>3</c:v>
                </c:pt>
                <c:pt idx="38">
                  <c:v>4</c:v>
                </c:pt>
                <c:pt idx="39">
                  <c:v>3</c:v>
                </c:pt>
                <c:pt idx="40">
                  <c:v>5</c:v>
                </c:pt>
                <c:pt idx="41">
                  <c:v>4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6</c:v>
                </c:pt>
                <c:pt idx="46">
                  <c:v>7</c:v>
                </c:pt>
                <c:pt idx="47">
                  <c:v>8</c:v>
                </c:pt>
                <c:pt idx="48">
                  <c:v>8</c:v>
                </c:pt>
                <c:pt idx="49">
                  <c:v>7</c:v>
                </c:pt>
                <c:pt idx="50">
                  <c:v>8</c:v>
                </c:pt>
                <c:pt idx="51">
                  <c:v>8</c:v>
                </c:pt>
                <c:pt idx="52">
                  <c:v>9</c:v>
                </c:pt>
                <c:pt idx="53">
                  <c:v>12</c:v>
                </c:pt>
                <c:pt idx="54">
                  <c:v>12</c:v>
                </c:pt>
                <c:pt idx="55">
                  <c:v>15</c:v>
                </c:pt>
                <c:pt idx="56">
                  <c:v>19</c:v>
                </c:pt>
                <c:pt idx="57">
                  <c:v>19</c:v>
                </c:pt>
                <c:pt idx="58">
                  <c:v>19</c:v>
                </c:pt>
                <c:pt idx="59">
                  <c:v>21</c:v>
                </c:pt>
                <c:pt idx="60">
                  <c:v>23</c:v>
                </c:pt>
                <c:pt idx="61">
                  <c:v>24</c:v>
                </c:pt>
                <c:pt idx="62">
                  <c:v>22</c:v>
                </c:pt>
                <c:pt idx="63">
                  <c:v>20</c:v>
                </c:pt>
                <c:pt idx="64">
                  <c:v>23</c:v>
                </c:pt>
                <c:pt idx="65">
                  <c:v>29</c:v>
                </c:pt>
                <c:pt idx="66">
                  <c:v>28</c:v>
                </c:pt>
                <c:pt idx="67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3.916095443029461</c:v>
                </c:pt>
                <c:pt idx="50">
                  <c:v>3.9300819607805284</c:v>
                </c:pt>
                <c:pt idx="51">
                  <c:v>3.9419439302850074</c:v>
                </c:pt>
                <c:pt idx="52">
                  <c:v>3.9520196298285111</c:v>
                </c:pt>
                <c:pt idx="53">
                  <c:v>3.9606150987514059</c:v>
                </c:pt>
                <c:pt idx="54">
                  <c:v>3.96796809188301</c:v>
                </c:pt>
                <c:pt idx="55">
                  <c:v>3.974259083789816</c:v>
                </c:pt>
                <c:pt idx="56">
                  <c:v>3.9796396976953337</c:v>
                </c:pt>
                <c:pt idx="57">
                  <c:v>3.9842239687038847</c:v>
                </c:pt>
                <c:pt idx="58">
                  <c:v>3.9881297573460115</c:v>
                </c:pt>
                <c:pt idx="59">
                  <c:v>3.9914574805300265</c:v>
                </c:pt>
                <c:pt idx="60">
                  <c:v>3.9942926932371337</c:v>
                </c:pt>
                <c:pt idx="61">
                  <c:v>3.996708288119891</c:v>
                </c:pt>
                <c:pt idx="62">
                  <c:v>3.9987663695551849</c:v>
                </c:pt>
                <c:pt idx="63">
                  <c:v>4.0005198503331645</c:v>
                </c:pt>
                <c:pt idx="64">
                  <c:v>4.0020138120326463</c:v>
                </c:pt>
                <c:pt idx="65">
                  <c:v>4.0032866640579146</c:v>
                </c:pt>
                <c:pt idx="66">
                  <c:v>4.0043711311354784</c:v>
                </c:pt>
                <c:pt idx="67">
                  <c:v>4.0052950946591031</c:v>
                </c:pt>
                <c:pt idx="68">
                  <c:v>4.0060823095138938</c:v>
                </c:pt>
                <c:pt idx="69">
                  <c:v>4.0067530148088091</c:v>
                </c:pt>
                <c:pt idx="70">
                  <c:v>4.007324454219396</c:v>
                </c:pt>
                <c:pt idx="71">
                  <c:v>4.0078113193186402</c:v>
                </c:pt>
                <c:pt idx="72">
                  <c:v>4.0082261272938524</c:v>
                </c:pt>
                <c:pt idx="73">
                  <c:v>4.0085795427606143</c:v>
                </c:pt>
                <c:pt idx="74">
                  <c:v>4.00888065194754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4.8430115577208106</c:v>
                </c:pt>
                <c:pt idx="50">
                  <c:v>4.9555593970964873</c:v>
                </c:pt>
                <c:pt idx="51">
                  <c:v>5.0690132434747595</c:v>
                </c:pt>
                <c:pt idx="52">
                  <c:v>5.1835057641992561</c:v>
                </c:pt>
                <c:pt idx="53">
                  <c:v>5.2991404001817566</c:v>
                </c:pt>
                <c:pt idx="54">
                  <c:v>5.41599940894812</c:v>
                </c:pt>
                <c:pt idx="55">
                  <c:v>5.5341376474049477</c:v>
                </c:pt>
                <c:pt idx="56">
                  <c:v>5.6535956141200261</c:v>
                </c:pt>
                <c:pt idx="57">
                  <c:v>5.7744067283545917</c:v>
                </c:pt>
                <c:pt idx="58">
                  <c:v>5.8965863177444646</c:v>
                </c:pt>
                <c:pt idx="59">
                  <c:v>6.0201498835476421</c:v>
                </c:pt>
                <c:pt idx="60">
                  <c:v>6.1451131026109858</c:v>
                </c:pt>
                <c:pt idx="61">
                  <c:v>6.2714918293591877</c:v>
                </c:pt>
                <c:pt idx="62">
                  <c:v>6.3993020978062631</c:v>
                </c:pt>
                <c:pt idx="63">
                  <c:v>6.5285601235898296</c:v>
                </c:pt>
                <c:pt idx="64">
                  <c:v>6.6592823060284312</c:v>
                </c:pt>
                <c:pt idx="65">
                  <c:v>6.7914852302021629</c:v>
                </c:pt>
                <c:pt idx="66">
                  <c:v>6.9251856690568641</c:v>
                </c:pt>
                <c:pt idx="67">
                  <c:v>7.0604005855321512</c:v>
                </c:pt>
                <c:pt idx="68">
                  <c:v>7.1971471347135472</c:v>
                </c:pt>
                <c:pt idx="69">
                  <c:v>7.3354426660089995</c:v>
                </c:pt>
                <c:pt idx="70">
                  <c:v>7.4753047253500453</c:v>
                </c:pt>
                <c:pt idx="71">
                  <c:v>7.6167510574179076</c:v>
                </c:pt>
                <c:pt idx="72">
                  <c:v>7.7597996078948173</c:v>
                </c:pt>
                <c:pt idx="73">
                  <c:v>7.9044685257408256</c:v>
                </c:pt>
                <c:pt idx="74">
                  <c:v>8.05077616549641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6.158898934538767</c:v>
                </c:pt>
                <c:pt idx="50">
                  <c:v>6.42264458313596</c:v>
                </c:pt>
                <c:pt idx="51">
                  <c:v>6.6957113951578311</c:v>
                </c:pt>
                <c:pt idx="52">
                  <c:v>6.9783597716689512</c:v>
                </c:pt>
                <c:pt idx="53">
                  <c:v>7.2708556317724939</c:v>
                </c:pt>
                <c:pt idx="54">
                  <c:v>7.5734689911775384</c:v>
                </c:pt>
                <c:pt idx="55">
                  <c:v>7.8864710661168571</c:v>
                </c:pt>
                <c:pt idx="56">
                  <c:v>8.2101340335460353</c:v>
                </c:pt>
                <c:pt idx="57">
                  <c:v>8.5447311858036699</c:v>
                </c:pt>
                <c:pt idx="58">
                  <c:v>8.8906319083613603</c:v>
                </c:pt>
                <c:pt idx="59">
                  <c:v>9.2482180655017725</c:v>
                </c:pt>
                <c:pt idx="60">
                  <c:v>9.6178844218856341</c:v>
                </c:pt>
                <c:pt idx="61">
                  <c:v>10.000039078360388</c:v>
                </c:pt>
                <c:pt idx="62">
                  <c:v>10.395103922491579</c:v>
                </c:pt>
                <c:pt idx="63">
                  <c:v>10.803515094314404</c:v>
                </c:pt>
                <c:pt idx="64">
                  <c:v>11.225723467819547</c:v>
                </c:pt>
                <c:pt idx="65">
                  <c:v>11.662195148704882</c:v>
                </c:pt>
                <c:pt idx="66">
                  <c:v>12.113411988942536</c:v>
                </c:pt>
                <c:pt idx="67">
                  <c:v>12.579872118729373</c:v>
                </c:pt>
                <c:pt idx="68">
                  <c:v>13.062090496408167</c:v>
                </c:pt>
                <c:pt idx="69">
                  <c:v>13.560599476966555</c:v>
                </c:pt>
                <c:pt idx="70">
                  <c:v>14.075949399741367</c:v>
                </c:pt>
                <c:pt idx="71">
                  <c:v>14.608709195977172</c:v>
                </c:pt>
                <c:pt idx="72">
                  <c:v>15.159467016909725</c:v>
                </c:pt>
                <c:pt idx="73">
                  <c:v>15.72883088306774</c:v>
                </c:pt>
                <c:pt idx="74">
                  <c:v>16.317429355509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9.3549997757979089</c:v>
                </c:pt>
                <c:pt idx="50">
                  <c:v>10.228579328040606</c:v>
                </c:pt>
                <c:pt idx="51">
                  <c:v>11.168065334687864</c:v>
                </c:pt>
                <c:pt idx="52">
                  <c:v>12.261651550449532</c:v>
                </c:pt>
                <c:pt idx="53">
                  <c:v>13.430641616261827</c:v>
                </c:pt>
                <c:pt idx="54">
                  <c:v>14.656470792024061</c:v>
                </c:pt>
                <c:pt idx="55">
                  <c:v>15.978876237658444</c:v>
                </c:pt>
                <c:pt idx="56">
                  <c:v>17.461890868540969</c:v>
                </c:pt>
                <c:pt idx="57">
                  <c:v>19.054271665500853</c:v>
                </c:pt>
                <c:pt idx="58">
                  <c:v>20.807146183368552</c:v>
                </c:pt>
                <c:pt idx="59">
                  <c:v>22.66115182261548</c:v>
                </c:pt>
                <c:pt idx="60">
                  <c:v>24.674606138308206</c:v>
                </c:pt>
                <c:pt idx="61">
                  <c:v>26.793557809289055</c:v>
                </c:pt>
                <c:pt idx="62">
                  <c:v>29.000407217174292</c:v>
                </c:pt>
                <c:pt idx="63">
                  <c:v>31.312700163161509</c:v>
                </c:pt>
                <c:pt idx="64">
                  <c:v>33.626554614812292</c:v>
                </c:pt>
                <c:pt idx="65">
                  <c:v>35.990402979542111</c:v>
                </c:pt>
                <c:pt idx="66">
                  <c:v>38.311775136123359</c:v>
                </c:pt>
                <c:pt idx="67">
                  <c:v>40.644299851356671</c:v>
                </c:pt>
                <c:pt idx="68">
                  <c:v>42.936539267704703</c:v>
                </c:pt>
                <c:pt idx="69">
                  <c:v>45.209899851674521</c:v>
                </c:pt>
                <c:pt idx="70">
                  <c:v>47.42922471328567</c:v>
                </c:pt>
                <c:pt idx="71">
                  <c:v>49.575247537261724</c:v>
                </c:pt>
                <c:pt idx="72">
                  <c:v>51.677813765624023</c:v>
                </c:pt>
                <c:pt idx="73">
                  <c:v>53.709338109799781</c:v>
                </c:pt>
                <c:pt idx="74">
                  <c:v>55.6632137972407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  <c:pt idx="10">
                  <c:v>4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8</c:v>
                </c:pt>
                <c:pt idx="16">
                  <c:v>8</c:v>
                </c:pt>
                <c:pt idx="17">
                  <c:v>8</c:v>
                </c:pt>
                <c:pt idx="18">
                  <c:v>9</c:v>
                </c:pt>
                <c:pt idx="19">
                  <c:v>9</c:v>
                </c:pt>
                <c:pt idx="20">
                  <c:v>7</c:v>
                </c:pt>
                <c:pt idx="21">
                  <c:v>6</c:v>
                </c:pt>
                <c:pt idx="22">
                  <c:v>6</c:v>
                </c:pt>
                <c:pt idx="23">
                  <c:v>7</c:v>
                </c:pt>
                <c:pt idx="24">
                  <c:v>7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7</c:v>
                </c:pt>
                <c:pt idx="29">
                  <c:v>7</c:v>
                </c:pt>
                <c:pt idx="30">
                  <c:v>4</c:v>
                </c:pt>
                <c:pt idx="31">
                  <c:v>4</c:v>
                </c:pt>
                <c:pt idx="32">
                  <c:v>3</c:v>
                </c:pt>
                <c:pt idx="33">
                  <c:v>5</c:v>
                </c:pt>
                <c:pt idx="34">
                  <c:v>6</c:v>
                </c:pt>
                <c:pt idx="35">
                  <c:v>8</c:v>
                </c:pt>
                <c:pt idx="36">
                  <c:v>8</c:v>
                </c:pt>
                <c:pt idx="37">
                  <c:v>11</c:v>
                </c:pt>
                <c:pt idx="38">
                  <c:v>11</c:v>
                </c:pt>
                <c:pt idx="39">
                  <c:v>10</c:v>
                </c:pt>
                <c:pt idx="40">
                  <c:v>12</c:v>
                </c:pt>
                <c:pt idx="41">
                  <c:v>15</c:v>
                </c:pt>
                <c:pt idx="42">
                  <c:v>16</c:v>
                </c:pt>
                <c:pt idx="43">
                  <c:v>16</c:v>
                </c:pt>
                <c:pt idx="44">
                  <c:v>15</c:v>
                </c:pt>
                <c:pt idx="45">
                  <c:v>13</c:v>
                </c:pt>
                <c:pt idx="46">
                  <c:v>14</c:v>
                </c:pt>
                <c:pt idx="47">
                  <c:v>17</c:v>
                </c:pt>
                <c:pt idx="48">
                  <c:v>20</c:v>
                </c:pt>
                <c:pt idx="49">
                  <c:v>18</c:v>
                </c:pt>
                <c:pt idx="50">
                  <c:v>20</c:v>
                </c:pt>
                <c:pt idx="51">
                  <c:v>20</c:v>
                </c:pt>
                <c:pt idx="52">
                  <c:v>18</c:v>
                </c:pt>
                <c:pt idx="53">
                  <c:v>19</c:v>
                </c:pt>
                <c:pt idx="54">
                  <c:v>20</c:v>
                </c:pt>
                <c:pt idx="55">
                  <c:v>21</c:v>
                </c:pt>
                <c:pt idx="56">
                  <c:v>25</c:v>
                </c:pt>
                <c:pt idx="57">
                  <c:v>27</c:v>
                </c:pt>
                <c:pt idx="58">
                  <c:v>30</c:v>
                </c:pt>
                <c:pt idx="59">
                  <c:v>32</c:v>
                </c:pt>
                <c:pt idx="60">
                  <c:v>37</c:v>
                </c:pt>
                <c:pt idx="61">
                  <c:v>41</c:v>
                </c:pt>
                <c:pt idx="62">
                  <c:v>45</c:v>
                </c:pt>
                <c:pt idx="63">
                  <c:v>46</c:v>
                </c:pt>
                <c:pt idx="64">
                  <c:v>39</c:v>
                </c:pt>
                <c:pt idx="65">
                  <c:v>48</c:v>
                </c:pt>
                <c:pt idx="66">
                  <c:v>46</c:v>
                </c:pt>
                <c:pt idx="67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7.298177871100358</c:v>
                </c:pt>
                <c:pt idx="50">
                  <c:v>7.3242436541818927</c:v>
                </c:pt>
                <c:pt idx="51">
                  <c:v>7.3463500518947855</c:v>
                </c:pt>
                <c:pt idx="52">
                  <c:v>7.3651274919531335</c:v>
                </c:pt>
                <c:pt idx="53">
                  <c:v>7.3811463204003465</c:v>
                </c:pt>
                <c:pt idx="54">
                  <c:v>7.3948496257819727</c:v>
                </c:pt>
                <c:pt idx="55">
                  <c:v>7.4065737470628381</c:v>
                </c:pt>
                <c:pt idx="56">
                  <c:v>7.4166012547958484</c:v>
                </c:pt>
                <c:pt idx="57">
                  <c:v>7.425144668948148</c:v>
                </c:pt>
                <c:pt idx="58">
                  <c:v>7.4324236386902927</c:v>
                </c:pt>
                <c:pt idx="59">
                  <c:v>7.4386253046241393</c:v>
                </c:pt>
                <c:pt idx="60">
                  <c:v>7.4439091101237471</c:v>
                </c:pt>
                <c:pt idx="61">
                  <c:v>7.4484109005870689</c:v>
                </c:pt>
                <c:pt idx="62">
                  <c:v>7.4522464159892072</c:v>
                </c:pt>
                <c:pt idx="63">
                  <c:v>7.4555142665299874</c:v>
                </c:pt>
                <c:pt idx="64">
                  <c:v>7.4582984678790218</c:v>
                </c:pt>
                <c:pt idx="65">
                  <c:v>7.4606706011988404</c:v>
                </c:pt>
                <c:pt idx="66">
                  <c:v>7.4626916534797543</c:v>
                </c:pt>
                <c:pt idx="67">
                  <c:v>7.4644135855010552</c:v>
                </c:pt>
                <c:pt idx="68">
                  <c:v>7.4658806677304375</c:v>
                </c:pt>
                <c:pt idx="69">
                  <c:v>7.4671306185073245</c:v>
                </c:pt>
                <c:pt idx="70">
                  <c:v>7.4681955737725092</c:v>
                </c:pt>
                <c:pt idx="71">
                  <c:v>7.4691029132756466</c:v>
                </c:pt>
                <c:pt idx="72">
                  <c:v>7.4698759645021777</c:v>
                </c:pt>
                <c:pt idx="73">
                  <c:v>7.4705346024175068</c:v>
                </c:pt>
                <c:pt idx="74">
                  <c:v>7.4710957604476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9.0256124484796914</c:v>
                </c:pt>
                <c:pt idx="50">
                  <c:v>9.2353606945889073</c:v>
                </c:pt>
                <c:pt idx="51">
                  <c:v>9.4467974082938682</c:v>
                </c:pt>
                <c:pt idx="52">
                  <c:v>9.6601698332804293</c:v>
                </c:pt>
                <c:pt idx="53">
                  <c:v>9.875670745793272</c:v>
                </c:pt>
                <c:pt idx="54">
                  <c:v>10.093453443948768</c:v>
                </c:pt>
                <c:pt idx="55">
                  <c:v>10.313620161072857</c:v>
                </c:pt>
                <c:pt idx="56">
                  <c:v>10.536246371769138</c:v>
                </c:pt>
                <c:pt idx="57">
                  <c:v>10.761394357388101</c:v>
                </c:pt>
                <c:pt idx="58">
                  <c:v>10.989092683069229</c:v>
                </c:pt>
                <c:pt idx="59">
                  <c:v>11.219370237520604</c:v>
                </c:pt>
                <c:pt idx="60">
                  <c:v>11.452256236684109</c:v>
                </c:pt>
                <c:pt idx="61">
                  <c:v>11.68778022744212</c:v>
                </c:pt>
                <c:pt idx="62">
                  <c:v>11.925972091366216</c:v>
                </c:pt>
                <c:pt idx="63">
                  <c:v>12.166862048508317</c:v>
                </c:pt>
                <c:pt idx="64">
                  <c:v>12.410480661234802</c:v>
                </c:pt>
                <c:pt idx="65">
                  <c:v>12.656858838104029</c:v>
                </c:pt>
                <c:pt idx="66">
                  <c:v>12.906027837787791</c:v>
                </c:pt>
                <c:pt idx="67">
                  <c:v>13.158019273037189</c:v>
                </c:pt>
                <c:pt idx="68">
                  <c:v>13.412865114693426</c:v>
                </c:pt>
                <c:pt idx="69">
                  <c:v>13.670597695744043</c:v>
                </c:pt>
                <c:pt idx="70">
                  <c:v>13.931249715425082</c:v>
                </c:pt>
                <c:pt idx="71">
                  <c:v>14.194854243369734</c:v>
                </c:pt>
                <c:pt idx="72">
                  <c:v>14.461444723803975</c:v>
                </c:pt>
                <c:pt idx="73">
                  <c:v>14.731054979789718</c:v>
                </c:pt>
                <c:pt idx="74">
                  <c:v>15.003719217516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1.4779480143677</c:v>
                </c:pt>
                <c:pt idx="50">
                  <c:v>11.969473995844286</c:v>
                </c:pt>
                <c:pt idx="51">
                  <c:v>12.478371236430501</c:v>
                </c:pt>
                <c:pt idx="52">
                  <c:v>13.005125029019407</c:v>
                </c:pt>
                <c:pt idx="53">
                  <c:v>13.550230950121463</c:v>
                </c:pt>
                <c:pt idx="54">
                  <c:v>14.114192210830865</c:v>
                </c:pt>
                <c:pt idx="55">
                  <c:v>14.697514259581414</c:v>
                </c:pt>
                <c:pt idx="56">
                  <c:v>15.30070433524488</c:v>
                </c:pt>
                <c:pt idx="57">
                  <c:v>15.924271755361382</c:v>
                </c:pt>
                <c:pt idx="58">
                  <c:v>16.568904920127988</c:v>
                </c:pt>
                <c:pt idx="59">
                  <c:v>17.235315485707844</c:v>
                </c:pt>
                <c:pt idx="60">
                  <c:v>17.924239149877771</c:v>
                </c:pt>
                <c:pt idx="61">
                  <c:v>18.636436464217084</c:v>
                </c:pt>
                <c:pt idx="62">
                  <c:v>19.372693673734304</c:v>
                </c:pt>
                <c:pt idx="63">
                  <c:v>20.133823584858661</c:v>
                </c:pt>
                <c:pt idx="64">
                  <c:v>20.92066646275461</c:v>
                </c:pt>
                <c:pt idx="65">
                  <c:v>21.734090958950006</c:v>
                </c:pt>
                <c:pt idx="66">
                  <c:v>22.574995070301995</c:v>
                </c:pt>
                <c:pt idx="67">
                  <c:v>23.444307130359284</c:v>
                </c:pt>
                <c:pt idx="68">
                  <c:v>24.342986834215218</c:v>
                </c:pt>
                <c:pt idx="69">
                  <c:v>25.272026297983121</c:v>
                </c:pt>
                <c:pt idx="70">
                  <c:v>26.232451154063455</c:v>
                </c:pt>
                <c:pt idx="71">
                  <c:v>27.225321683411998</c:v>
                </c:pt>
                <c:pt idx="72">
                  <c:v>28.251733986059026</c:v>
                </c:pt>
                <c:pt idx="73">
                  <c:v>29.312821191171693</c:v>
                </c:pt>
                <c:pt idx="74">
                  <c:v>30.4097547079954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7.281685766009709</c:v>
                </c:pt>
                <c:pt idx="50">
                  <c:v>18.869522666343244</c:v>
                </c:pt>
                <c:pt idx="51">
                  <c:v>20.590122455918454</c:v>
                </c:pt>
                <c:pt idx="52">
                  <c:v>22.578603687179914</c:v>
                </c:pt>
                <c:pt idx="53">
                  <c:v>24.707910308626921</c:v>
                </c:pt>
                <c:pt idx="54">
                  <c:v>26.951032092873863</c:v>
                </c:pt>
                <c:pt idx="55">
                  <c:v>29.384095246044168</c:v>
                </c:pt>
                <c:pt idx="56">
                  <c:v>32.10901045336864</c:v>
                </c:pt>
                <c:pt idx="57">
                  <c:v>35.042966501823308</c:v>
                </c:pt>
                <c:pt idx="58">
                  <c:v>38.263768541611377</c:v>
                </c:pt>
                <c:pt idx="59">
                  <c:v>41.671763651929979</c:v>
                </c:pt>
                <c:pt idx="60">
                  <c:v>45.374685025670509</c:v>
                </c:pt>
                <c:pt idx="61">
                  <c:v>49.273709426987629</c:v>
                </c:pt>
                <c:pt idx="62">
                  <c:v>53.335538613870412</c:v>
                </c:pt>
                <c:pt idx="63">
                  <c:v>57.586256756018848</c:v>
                </c:pt>
                <c:pt idx="64">
                  <c:v>61.843213343961835</c:v>
                </c:pt>
                <c:pt idx="65">
                  <c:v>66.184039803442317</c:v>
                </c:pt>
                <c:pt idx="66">
                  <c:v>70.45008416975557</c:v>
                </c:pt>
                <c:pt idx="67">
                  <c:v>74.727069843761484</c:v>
                </c:pt>
                <c:pt idx="68">
                  <c:v>78.930657843673373</c:v>
                </c:pt>
                <c:pt idx="69">
                  <c:v>83.097184727906694</c:v>
                </c:pt>
                <c:pt idx="70">
                  <c:v>87.162566420935448</c:v>
                </c:pt>
                <c:pt idx="71">
                  <c:v>91.092085168136094</c:v>
                </c:pt>
                <c:pt idx="72">
                  <c:v>94.935275737294347</c:v>
                </c:pt>
                <c:pt idx="73">
                  <c:v>98.647727936412423</c:v>
                </c:pt>
                <c:pt idx="74">
                  <c:v>102.216415152220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3</c:v>
                </c:pt>
                <c:pt idx="1">
                  <c:v>4</c:v>
                </c:pt>
                <c:pt idx="2">
                  <c:v>8</c:v>
                </c:pt>
                <c:pt idx="3">
                  <c:v>11</c:v>
                </c:pt>
                <c:pt idx="4">
                  <c:v>13</c:v>
                </c:pt>
                <c:pt idx="5">
                  <c:v>19</c:v>
                </c:pt>
                <c:pt idx="6">
                  <c:v>23</c:v>
                </c:pt>
                <c:pt idx="7">
                  <c:v>24</c:v>
                </c:pt>
                <c:pt idx="8">
                  <c:v>26</c:v>
                </c:pt>
                <c:pt idx="9">
                  <c:v>30</c:v>
                </c:pt>
                <c:pt idx="10">
                  <c:v>33</c:v>
                </c:pt>
                <c:pt idx="11">
                  <c:v>37</c:v>
                </c:pt>
                <c:pt idx="12">
                  <c:v>46</c:v>
                </c:pt>
                <c:pt idx="13">
                  <c:v>55</c:v>
                </c:pt>
                <c:pt idx="14">
                  <c:v>58</c:v>
                </c:pt>
                <c:pt idx="15">
                  <c:v>65</c:v>
                </c:pt>
                <c:pt idx="16">
                  <c:v>70</c:v>
                </c:pt>
                <c:pt idx="17">
                  <c:v>73</c:v>
                </c:pt>
                <c:pt idx="18">
                  <c:v>78</c:v>
                </c:pt>
                <c:pt idx="19">
                  <c:v>82</c:v>
                </c:pt>
                <c:pt idx="20">
                  <c:v>86</c:v>
                </c:pt>
                <c:pt idx="21">
                  <c:v>88</c:v>
                </c:pt>
                <c:pt idx="22">
                  <c:v>93</c:v>
                </c:pt>
                <c:pt idx="23">
                  <c:v>100</c:v>
                </c:pt>
                <c:pt idx="24">
                  <c:v>107</c:v>
                </c:pt>
                <c:pt idx="25">
                  <c:v>108</c:v>
                </c:pt>
                <c:pt idx="26">
                  <c:v>111</c:v>
                </c:pt>
                <c:pt idx="27">
                  <c:v>117</c:v>
                </c:pt>
                <c:pt idx="28">
                  <c:v>121</c:v>
                </c:pt>
                <c:pt idx="29">
                  <c:v>127</c:v>
                </c:pt>
                <c:pt idx="30">
                  <c:v>132</c:v>
                </c:pt>
                <c:pt idx="31">
                  <c:v>137</c:v>
                </c:pt>
                <c:pt idx="32">
                  <c:v>144</c:v>
                </c:pt>
                <c:pt idx="33">
                  <c:v>152</c:v>
                </c:pt>
                <c:pt idx="34">
                  <c:v>170</c:v>
                </c:pt>
                <c:pt idx="35">
                  <c:v>192</c:v>
                </c:pt>
                <c:pt idx="36">
                  <c:v>196</c:v>
                </c:pt>
                <c:pt idx="37">
                  <c:v>204</c:v>
                </c:pt>
                <c:pt idx="38">
                  <c:v>211</c:v>
                </c:pt>
                <c:pt idx="39">
                  <c:v>218</c:v>
                </c:pt>
                <c:pt idx="40">
                  <c:v>243</c:v>
                </c:pt>
                <c:pt idx="41">
                  <c:v>259</c:v>
                </c:pt>
                <c:pt idx="42">
                  <c:v>267</c:v>
                </c:pt>
                <c:pt idx="43">
                  <c:v>283</c:v>
                </c:pt>
                <c:pt idx="44">
                  <c:v>296</c:v>
                </c:pt>
                <c:pt idx="45">
                  <c:v>307</c:v>
                </c:pt>
                <c:pt idx="46">
                  <c:v>318</c:v>
                </c:pt>
                <c:pt idx="47">
                  <c:v>345</c:v>
                </c:pt>
                <c:pt idx="48">
                  <c:v>365</c:v>
                </c:pt>
                <c:pt idx="49">
                  <c:v>387</c:v>
                </c:pt>
                <c:pt idx="50">
                  <c:v>406</c:v>
                </c:pt>
                <c:pt idx="51">
                  <c:v>431</c:v>
                </c:pt>
                <c:pt idx="52">
                  <c:v>454</c:v>
                </c:pt>
                <c:pt idx="53">
                  <c:v>477</c:v>
                </c:pt>
                <c:pt idx="54">
                  <c:v>501</c:v>
                </c:pt>
                <c:pt idx="55">
                  <c:v>530</c:v>
                </c:pt>
                <c:pt idx="56">
                  <c:v>575</c:v>
                </c:pt>
                <c:pt idx="57">
                  <c:v>603</c:v>
                </c:pt>
                <c:pt idx="58">
                  <c:v>644</c:v>
                </c:pt>
                <c:pt idx="59">
                  <c:v>681</c:v>
                </c:pt>
                <c:pt idx="60">
                  <c:v>719</c:v>
                </c:pt>
                <c:pt idx="61">
                  <c:v>779</c:v>
                </c:pt>
                <c:pt idx="62">
                  <c:v>825</c:v>
                </c:pt>
                <c:pt idx="63">
                  <c:v>879</c:v>
                </c:pt>
                <c:pt idx="64">
                  <c:v>932</c:v>
                </c:pt>
                <c:pt idx="65">
                  <c:v>997</c:v>
                </c:pt>
                <c:pt idx="66">
                  <c:v>1037</c:v>
                </c:pt>
                <c:pt idx="67">
                  <c:v>10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367.60756546587362</c:v>
                </c:pt>
                <c:pt idx="50">
                  <c:v>375.22226636552659</c:v>
                </c:pt>
                <c:pt idx="51">
                  <c:v>382.84166976015155</c:v>
                </c:pt>
                <c:pt idx="52">
                  <c:v>390.46465286095503</c:v>
                </c:pt>
                <c:pt idx="53">
                  <c:v>398.09014975526947</c:v>
                </c:pt>
                <c:pt idx="54">
                  <c:v>405.71727247112716</c:v>
                </c:pt>
                <c:pt idx="55">
                  <c:v>413.34581799940327</c:v>
                </c:pt>
                <c:pt idx="56">
                  <c:v>420.97545331875438</c:v>
                </c:pt>
                <c:pt idx="57">
                  <c:v>428.60609262051872</c:v>
                </c:pt>
                <c:pt idx="58">
                  <c:v>436.23771151814509</c:v>
                </c:pt>
                <c:pt idx="59">
                  <c:v>443.87007729658529</c:v>
                </c:pt>
                <c:pt idx="60">
                  <c:v>451.50308318186165</c:v>
                </c:pt>
                <c:pt idx="61">
                  <c:v>459.1366866025931</c:v>
                </c:pt>
                <c:pt idx="62">
                  <c:v>466.77062429095713</c:v>
                </c:pt>
                <c:pt idx="63">
                  <c:v>474.40490861824276</c:v>
                </c:pt>
                <c:pt idx="64">
                  <c:v>482.03945781747382</c:v>
                </c:pt>
                <c:pt idx="65">
                  <c:v>489.67423480174659</c:v>
                </c:pt>
                <c:pt idx="66">
                  <c:v>497.30901178601295</c:v>
                </c:pt>
                <c:pt idx="67">
                  <c:v>504.94378877028572</c:v>
                </c:pt>
                <c:pt idx="68">
                  <c:v>512.57856575455207</c:v>
                </c:pt>
                <c:pt idx="69">
                  <c:v>520.21334273882485</c:v>
                </c:pt>
                <c:pt idx="70">
                  <c:v>527.84811972309126</c:v>
                </c:pt>
                <c:pt idx="71">
                  <c:v>535.48289670736403</c:v>
                </c:pt>
                <c:pt idx="72">
                  <c:v>543.11767369163044</c:v>
                </c:pt>
                <c:pt idx="73">
                  <c:v>550.75245067590322</c:v>
                </c:pt>
                <c:pt idx="74">
                  <c:v>558.387227660169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68.94722518055897</c:v>
                </c:pt>
                <c:pt idx="50">
                  <c:v>378.07245456491927</c:v>
                </c:pt>
                <c:pt idx="51">
                  <c:v>387.37774263340526</c:v>
                </c:pt>
                <c:pt idx="52">
                  <c:v>396.86522871796046</c:v>
                </c:pt>
                <c:pt idx="53">
                  <c:v>406.53744713950169</c:v>
                </c:pt>
                <c:pt idx="54">
                  <c:v>416.39707159019736</c:v>
                </c:pt>
                <c:pt idx="55">
                  <c:v>426.44688237738058</c:v>
                </c:pt>
                <c:pt idx="56">
                  <c:v>436.68966941047773</c:v>
                </c:pt>
                <c:pt idx="57">
                  <c:v>447.12807276699368</c:v>
                </c:pt>
                <c:pt idx="58">
                  <c:v>457.76476924176438</c:v>
                </c:pt>
                <c:pt idx="59">
                  <c:v>468.60244213018581</c:v>
                </c:pt>
                <c:pt idx="60">
                  <c:v>479.64364047920151</c:v>
                </c:pt>
                <c:pt idx="61">
                  <c:v>490.89096115957443</c:v>
                </c:pt>
                <c:pt idx="62">
                  <c:v>502.34698738127611</c:v>
                </c:pt>
                <c:pt idx="63">
                  <c:v>514.01426828591002</c:v>
                </c:pt>
                <c:pt idx="64">
                  <c:v>525.89521712762098</c:v>
                </c:pt>
                <c:pt idx="65">
                  <c:v>537.99224859677793</c:v>
                </c:pt>
                <c:pt idx="66">
                  <c:v>550.30775239172942</c:v>
                </c:pt>
                <c:pt idx="67">
                  <c:v>562.84407971940129</c:v>
                </c:pt>
                <c:pt idx="68">
                  <c:v>575.60353578179991</c:v>
                </c:pt>
                <c:pt idx="69">
                  <c:v>588.58856889902859</c:v>
                </c:pt>
                <c:pt idx="70">
                  <c:v>601.8017236660844</c:v>
                </c:pt>
                <c:pt idx="71">
                  <c:v>615.2456053649795</c:v>
                </c:pt>
                <c:pt idx="72">
                  <c:v>628.92286340523719</c:v>
                </c:pt>
                <c:pt idx="73">
                  <c:v>642.83618381641861</c:v>
                </c:pt>
                <c:pt idx="74">
                  <c:v>656.988289105027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370.77525951188051</c:v>
                </c:pt>
                <c:pt idx="50">
                  <c:v>381.97136486960284</c:v>
                </c:pt>
                <c:pt idx="51">
                  <c:v>393.60313175652664</c:v>
                </c:pt>
                <c:pt idx="52">
                  <c:v>405.68576268083297</c:v>
                </c:pt>
                <c:pt idx="53">
                  <c:v>418.23507529938934</c:v>
                </c:pt>
                <c:pt idx="54">
                  <c:v>431.2675002972108</c:v>
                </c:pt>
                <c:pt idx="55">
                  <c:v>444.79987225111529</c:v>
                </c:pt>
                <c:pt idx="56">
                  <c:v>458.84942913311988</c:v>
                </c:pt>
                <c:pt idx="57">
                  <c:v>473.43383373381204</c:v>
                </c:pt>
                <c:pt idx="58">
                  <c:v>488.57120480991153</c:v>
                </c:pt>
                <c:pt idx="59">
                  <c:v>504.28013364075645</c:v>
                </c:pt>
                <c:pt idx="60">
                  <c:v>520.57970827453403</c:v>
                </c:pt>
                <c:pt idx="61">
                  <c:v>537.48950309609859</c:v>
                </c:pt>
                <c:pt idx="62">
                  <c:v>555.02953733706931</c:v>
                </c:pt>
                <c:pt idx="63">
                  <c:v>573.2202700401939</c:v>
                </c:pt>
                <c:pt idx="64">
                  <c:v>592.08259976348313</c:v>
                </c:pt>
                <c:pt idx="65">
                  <c:v>611.63786700647017</c:v>
                </c:pt>
                <c:pt idx="66">
                  <c:v>631.90784812091135</c:v>
                </c:pt>
                <c:pt idx="67">
                  <c:v>652.91474756863352</c:v>
                </c:pt>
                <c:pt idx="68">
                  <c:v>674.68118830247988</c:v>
                </c:pt>
                <c:pt idx="69">
                  <c:v>697.2305826018478</c:v>
                </c:pt>
                <c:pt idx="70">
                  <c:v>720.58704718931369</c:v>
                </c:pt>
                <c:pt idx="71">
                  <c:v>744.77534086889546</c:v>
                </c:pt>
                <c:pt idx="72">
                  <c:v>769.82083663251285</c:v>
                </c:pt>
                <c:pt idx="73">
                  <c:v>795.74950921779816</c:v>
                </c:pt>
                <c:pt idx="74">
                  <c:v>822.587934337098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384.49264640400361</c:v>
                </c:pt>
                <c:pt idx="50">
                  <c:v>411.37693806749121</c:v>
                </c:pt>
                <c:pt idx="51">
                  <c:v>441.41023296027015</c:v>
                </c:pt>
                <c:pt idx="52">
                  <c:v>474.39233221355244</c:v>
                </c:pt>
                <c:pt idx="53">
                  <c:v>509.80870002527445</c:v>
                </c:pt>
                <c:pt idx="54">
                  <c:v>548.05232544644423</c:v>
                </c:pt>
                <c:pt idx="55">
                  <c:v>590.28115641590011</c:v>
                </c:pt>
                <c:pt idx="56">
                  <c:v>636.23721436160849</c:v>
                </c:pt>
                <c:pt idx="57">
                  <c:v>686.23829367097835</c:v>
                </c:pt>
                <c:pt idx="58">
                  <c:v>740.90756527226586</c:v>
                </c:pt>
                <c:pt idx="59">
                  <c:v>800.17730770726848</c:v>
                </c:pt>
                <c:pt idx="60">
                  <c:v>864.11209068939763</c:v>
                </c:pt>
                <c:pt idx="61">
                  <c:v>933.45745655767871</c:v>
                </c:pt>
                <c:pt idx="62">
                  <c:v>1007.7164010888956</c:v>
                </c:pt>
                <c:pt idx="63">
                  <c:v>1086.4238511563638</c:v>
                </c:pt>
                <c:pt idx="64">
                  <c:v>1169.1198344747338</c:v>
                </c:pt>
                <c:pt idx="65">
                  <c:v>1255.6057938280701</c:v>
                </c:pt>
                <c:pt idx="66">
                  <c:v>1345.6294629259194</c:v>
                </c:pt>
                <c:pt idx="67">
                  <c:v>1439.0050540890027</c:v>
                </c:pt>
                <c:pt idx="68">
                  <c:v>1535.7101186040984</c:v>
                </c:pt>
                <c:pt idx="69">
                  <c:v>1635.5610946242709</c:v>
                </c:pt>
                <c:pt idx="70">
                  <c:v>1738.3503061731412</c:v>
                </c:pt>
                <c:pt idx="71">
                  <c:v>1843.9432509316453</c:v>
                </c:pt>
                <c:pt idx="72">
                  <c:v>1952.1951839859307</c:v>
                </c:pt>
                <c:pt idx="73">
                  <c:v>2062.9525662229662</c:v>
                </c:pt>
                <c:pt idx="74">
                  <c:v>2176.11152050528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5</c:v>
                </c:pt>
                <c:pt idx="5">
                  <c:v>7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10</c:v>
                </c:pt>
                <c:pt idx="10">
                  <c:v>10</c:v>
                </c:pt>
                <c:pt idx="11">
                  <c:v>11</c:v>
                </c:pt>
                <c:pt idx="12">
                  <c:v>14</c:v>
                </c:pt>
                <c:pt idx="13">
                  <c:v>16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  <c:pt idx="18">
                  <c:v>21</c:v>
                </c:pt>
                <c:pt idx="19">
                  <c:v>22</c:v>
                </c:pt>
                <c:pt idx="20">
                  <c:v>24</c:v>
                </c:pt>
                <c:pt idx="21">
                  <c:v>24</c:v>
                </c:pt>
                <c:pt idx="22">
                  <c:v>25</c:v>
                </c:pt>
                <c:pt idx="23">
                  <c:v>28</c:v>
                </c:pt>
                <c:pt idx="24">
                  <c:v>31</c:v>
                </c:pt>
                <c:pt idx="25">
                  <c:v>31</c:v>
                </c:pt>
                <c:pt idx="26">
                  <c:v>32</c:v>
                </c:pt>
                <c:pt idx="27">
                  <c:v>33</c:v>
                </c:pt>
                <c:pt idx="28">
                  <c:v>35</c:v>
                </c:pt>
                <c:pt idx="29">
                  <c:v>38</c:v>
                </c:pt>
                <c:pt idx="30">
                  <c:v>39</c:v>
                </c:pt>
                <c:pt idx="31">
                  <c:v>41</c:v>
                </c:pt>
                <c:pt idx="32">
                  <c:v>45</c:v>
                </c:pt>
                <c:pt idx="33">
                  <c:v>48</c:v>
                </c:pt>
                <c:pt idx="34">
                  <c:v>55</c:v>
                </c:pt>
                <c:pt idx="35">
                  <c:v>62</c:v>
                </c:pt>
                <c:pt idx="36">
                  <c:v>62</c:v>
                </c:pt>
                <c:pt idx="37">
                  <c:v>63</c:v>
                </c:pt>
                <c:pt idx="38">
                  <c:v>64</c:v>
                </c:pt>
                <c:pt idx="39">
                  <c:v>66</c:v>
                </c:pt>
                <c:pt idx="40">
                  <c:v>69</c:v>
                </c:pt>
                <c:pt idx="41">
                  <c:v>71</c:v>
                </c:pt>
                <c:pt idx="42">
                  <c:v>71</c:v>
                </c:pt>
                <c:pt idx="43">
                  <c:v>74</c:v>
                </c:pt>
                <c:pt idx="44">
                  <c:v>78</c:v>
                </c:pt>
                <c:pt idx="45">
                  <c:v>78</c:v>
                </c:pt>
                <c:pt idx="46">
                  <c:v>79</c:v>
                </c:pt>
                <c:pt idx="47">
                  <c:v>87</c:v>
                </c:pt>
                <c:pt idx="48">
                  <c:v>89</c:v>
                </c:pt>
                <c:pt idx="49">
                  <c:v>95</c:v>
                </c:pt>
                <c:pt idx="50">
                  <c:v>96</c:v>
                </c:pt>
                <c:pt idx="51">
                  <c:v>98</c:v>
                </c:pt>
                <c:pt idx="52">
                  <c:v>102</c:v>
                </c:pt>
                <c:pt idx="53">
                  <c:v>106</c:v>
                </c:pt>
                <c:pt idx="54">
                  <c:v>111</c:v>
                </c:pt>
                <c:pt idx="55">
                  <c:v>116</c:v>
                </c:pt>
                <c:pt idx="56">
                  <c:v>126</c:v>
                </c:pt>
                <c:pt idx="57">
                  <c:v>129</c:v>
                </c:pt>
                <c:pt idx="58">
                  <c:v>138</c:v>
                </c:pt>
                <c:pt idx="59">
                  <c:v>145</c:v>
                </c:pt>
                <c:pt idx="60">
                  <c:v>149</c:v>
                </c:pt>
                <c:pt idx="61">
                  <c:v>153</c:v>
                </c:pt>
                <c:pt idx="62">
                  <c:v>155</c:v>
                </c:pt>
                <c:pt idx="63">
                  <c:v>171</c:v>
                </c:pt>
                <c:pt idx="64">
                  <c:v>178</c:v>
                </c:pt>
                <c:pt idx="65">
                  <c:v>190</c:v>
                </c:pt>
                <c:pt idx="66">
                  <c:v>195</c:v>
                </c:pt>
                <c:pt idx="67">
                  <c:v>2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90.138985790088427</c:v>
                </c:pt>
                <c:pt idx="50">
                  <c:v>91.279039879584488</c:v>
                </c:pt>
                <c:pt idx="51">
                  <c:v>92.419798014937939</c:v>
                </c:pt>
                <c:pt idx="52">
                  <c:v>93.56109209500174</c:v>
                </c:pt>
                <c:pt idx="53">
                  <c:v>94.702762533981016</c:v>
                </c:pt>
                <c:pt idx="54">
                  <c:v>95.844676386920156</c:v>
                </c:pt>
                <c:pt idx="55">
                  <c:v>96.986803259797654</c:v>
                </c:pt>
                <c:pt idx="56">
                  <c:v>98.129093293485809</c:v>
                </c:pt>
                <c:pt idx="57">
                  <c:v>99.271533640925099</c:v>
                </c:pt>
                <c:pt idx="58">
                  <c:v>100.4141206510217</c:v>
                </c:pt>
                <c:pt idx="59">
                  <c:v>101.5568194822571</c:v>
                </c:pt>
                <c:pt idx="60">
                  <c:v>102.69961414869678</c:v>
                </c:pt>
                <c:pt idx="61">
                  <c:v>103.8424982766594</c:v>
                </c:pt>
                <c:pt idx="62">
                  <c:v>104.98543245034102</c:v>
                </c:pt>
                <c:pt idx="63">
                  <c:v>106.12841852194029</c:v>
                </c:pt>
                <c:pt idx="64">
                  <c:v>107.27144424950879</c:v>
                </c:pt>
                <c:pt idx="65">
                  <c:v>108.41450408048749</c:v>
                </c:pt>
                <c:pt idx="66">
                  <c:v>109.55756391146522</c:v>
                </c:pt>
                <c:pt idx="67">
                  <c:v>110.70062374244392</c:v>
                </c:pt>
                <c:pt idx="68">
                  <c:v>111.84368357342166</c:v>
                </c:pt>
                <c:pt idx="69">
                  <c:v>112.98674340440036</c:v>
                </c:pt>
                <c:pt idx="70">
                  <c:v>114.12980323537809</c:v>
                </c:pt>
                <c:pt idx="71">
                  <c:v>115.27286306635679</c:v>
                </c:pt>
                <c:pt idx="72">
                  <c:v>116.41592289733453</c:v>
                </c:pt>
                <c:pt idx="73">
                  <c:v>117.55898272831323</c:v>
                </c:pt>
                <c:pt idx="74">
                  <c:v>118.70204255929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90.339556312343575</c:v>
                </c:pt>
                <c:pt idx="50">
                  <c:v>91.705762971583965</c:v>
                </c:pt>
                <c:pt idx="51">
                  <c:v>93.098927569408147</c:v>
                </c:pt>
                <c:pt idx="52">
                  <c:v>94.519370401276575</c:v>
                </c:pt>
                <c:pt idx="53">
                  <c:v>95.967470899416924</c:v>
                </c:pt>
                <c:pt idx="54">
                  <c:v>97.443629362374182</c:v>
                </c:pt>
                <c:pt idx="55">
                  <c:v>98.948262050850758</c:v>
                </c:pt>
                <c:pt idx="56">
                  <c:v>100.48178666315061</c:v>
                </c:pt>
                <c:pt idx="57">
                  <c:v>102.04459846511487</c:v>
                </c:pt>
                <c:pt idx="58">
                  <c:v>103.63709821981219</c:v>
                </c:pt>
                <c:pt idx="59">
                  <c:v>105.25968766355891</c:v>
                </c:pt>
                <c:pt idx="60">
                  <c:v>106.9127484333268</c:v>
                </c:pt>
                <c:pt idx="61">
                  <c:v>108.59666932615099</c:v>
                </c:pt>
                <c:pt idx="62">
                  <c:v>110.31183709380689</c:v>
                </c:pt>
                <c:pt idx="63">
                  <c:v>112.05863338743852</c:v>
                </c:pt>
                <c:pt idx="64">
                  <c:v>113.83741951345739</c:v>
                </c:pt>
                <c:pt idx="65">
                  <c:v>115.64855699330293</c:v>
                </c:pt>
                <c:pt idx="66">
                  <c:v>117.49240360667139</c:v>
                </c:pt>
                <c:pt idx="67">
                  <c:v>119.36931137041887</c:v>
                </c:pt>
                <c:pt idx="68">
                  <c:v>121.27962541365935</c:v>
                </c:pt>
                <c:pt idx="69">
                  <c:v>123.22371229279246</c:v>
                </c:pt>
                <c:pt idx="70">
                  <c:v>125.20195297825562</c:v>
                </c:pt>
                <c:pt idx="71">
                  <c:v>127.21473752639528</c:v>
                </c:pt>
                <c:pt idx="72">
                  <c:v>129.26246260021918</c:v>
                </c:pt>
                <c:pt idx="73">
                  <c:v>131.34553034539604</c:v>
                </c:pt>
                <c:pt idx="74">
                  <c:v>133.464348368831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0.613245068162911</c:v>
                </c:pt>
                <c:pt idx="50">
                  <c:v>92.289498130194787</c:v>
                </c:pt>
                <c:pt idx="51">
                  <c:v>94.03097735337829</c:v>
                </c:pt>
                <c:pt idx="52">
                  <c:v>95.83995881944675</c:v>
                </c:pt>
                <c:pt idx="53">
                  <c:v>97.718810708665643</c:v>
                </c:pt>
                <c:pt idx="54">
                  <c:v>99.669992982350777</c:v>
                </c:pt>
                <c:pt idx="55">
                  <c:v>101.69602607149467</c:v>
                </c:pt>
                <c:pt idx="56">
                  <c:v>103.79949080241626</c:v>
                </c:pt>
                <c:pt idx="57">
                  <c:v>105.9830316042148</c:v>
                </c:pt>
                <c:pt idx="58">
                  <c:v>108.2493611721054</c:v>
                </c:pt>
                <c:pt idx="59">
                  <c:v>110.60126294621494</c:v>
                </c:pt>
                <c:pt idx="60">
                  <c:v>113.04159474166751</c:v>
                </c:pt>
                <c:pt idx="61">
                  <c:v>115.57328718670401</c:v>
                </c:pt>
                <c:pt idx="62">
                  <c:v>118.19933751091713</c:v>
                </c:pt>
                <c:pt idx="63">
                  <c:v>120.92280879132845</c:v>
                </c:pt>
                <c:pt idx="64">
                  <c:v>123.7468299080921</c:v>
                </c:pt>
                <c:pt idx="65">
                  <c:v>126.67459590774834</c:v>
                </c:pt>
                <c:pt idx="66">
                  <c:v>129.70936709154884</c:v>
                </c:pt>
                <c:pt idx="67">
                  <c:v>132.85446785632081</c:v>
                </c:pt>
                <c:pt idx="68">
                  <c:v>136.11328525432606</c:v>
                </c:pt>
                <c:pt idx="69">
                  <c:v>139.48932451383595</c:v>
                </c:pt>
                <c:pt idx="70">
                  <c:v>142.98619633060343</c:v>
                </c:pt>
                <c:pt idx="71">
                  <c:v>146.60760753121878</c:v>
                </c:pt>
                <c:pt idx="72">
                  <c:v>150.35735689695809</c:v>
                </c:pt>
                <c:pt idx="73">
                  <c:v>154.23933330096972</c:v>
                </c:pt>
                <c:pt idx="74">
                  <c:v>158.257515592842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92.638472216709104</c:v>
                </c:pt>
                <c:pt idx="50">
                  <c:v>96.636083890021396</c:v>
                </c:pt>
                <c:pt idx="51">
                  <c:v>101.10149344859471</c:v>
                </c:pt>
                <c:pt idx="52">
                  <c:v>106.00272046479293</c:v>
                </c:pt>
                <c:pt idx="53">
                  <c:v>111.26509528865788</c:v>
                </c:pt>
                <c:pt idx="54">
                  <c:v>116.95385485766963</c:v>
                </c:pt>
                <c:pt idx="55">
                  <c:v>123.23710363010559</c:v>
                </c:pt>
                <c:pt idx="56">
                  <c:v>130.07672713057616</c:v>
                </c:pt>
                <c:pt idx="57">
                  <c:v>137.51928132326046</c:v>
                </c:pt>
                <c:pt idx="58">
                  <c:v>145.6531646846378</c:v>
                </c:pt>
                <c:pt idx="59">
                  <c:v>154.47046139909943</c:v>
                </c:pt>
                <c:pt idx="60">
                  <c:v>163.98513393712381</c:v>
                </c:pt>
                <c:pt idx="61">
                  <c:v>174.30579815124577</c:v>
                </c:pt>
                <c:pt idx="62">
                  <c:v>185.35626272353775</c:v>
                </c:pt>
                <c:pt idx="63">
                  <c:v>197.06797918586014</c:v>
                </c:pt>
                <c:pt idx="64">
                  <c:v>209.37193619711996</c:v>
                </c:pt>
                <c:pt idx="65">
                  <c:v>222.23763088387466</c:v>
                </c:pt>
                <c:pt idx="66">
                  <c:v>235.62703259794708</c:v>
                </c:pt>
                <c:pt idx="67">
                  <c:v>249.51279453357668</c:v>
                </c:pt>
                <c:pt idx="68">
                  <c:v>263.89302990759677</c:v>
                </c:pt>
                <c:pt idx="69">
                  <c:v>278.73953573516633</c:v>
                </c:pt>
                <c:pt idx="70">
                  <c:v>294.02056306372003</c:v>
                </c:pt>
                <c:pt idx="71">
                  <c:v>309.71619577528963</c:v>
                </c:pt>
                <c:pt idx="72">
                  <c:v>325.80481220619555</c:v>
                </c:pt>
                <c:pt idx="73">
                  <c:v>342.26392891368812</c:v>
                </c:pt>
                <c:pt idx="74">
                  <c:v>359.07824634805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5</c:v>
                </c:pt>
                <c:pt idx="13">
                  <c:v>7</c:v>
                </c:pt>
                <c:pt idx="14">
                  <c:v>7</c:v>
                </c:pt>
                <c:pt idx="15">
                  <c:v>7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  <c:pt idx="24">
                  <c:v>8</c:v>
                </c:pt>
                <c:pt idx="25">
                  <c:v>8</c:v>
                </c:pt>
                <c:pt idx="26">
                  <c:v>8</c:v>
                </c:pt>
                <c:pt idx="27">
                  <c:v>8</c:v>
                </c:pt>
                <c:pt idx="28">
                  <c:v>8</c:v>
                </c:pt>
                <c:pt idx="29">
                  <c:v>9</c:v>
                </c:pt>
                <c:pt idx="30">
                  <c:v>10</c:v>
                </c:pt>
                <c:pt idx="31">
                  <c:v>11</c:v>
                </c:pt>
                <c:pt idx="32">
                  <c:v>12</c:v>
                </c:pt>
                <c:pt idx="33">
                  <c:v>12</c:v>
                </c:pt>
                <c:pt idx="34">
                  <c:v>17</c:v>
                </c:pt>
                <c:pt idx="35">
                  <c:v>17</c:v>
                </c:pt>
                <c:pt idx="36">
                  <c:v>17</c:v>
                </c:pt>
                <c:pt idx="37">
                  <c:v>17</c:v>
                </c:pt>
                <c:pt idx="38">
                  <c:v>18</c:v>
                </c:pt>
                <c:pt idx="39">
                  <c:v>18</c:v>
                </c:pt>
                <c:pt idx="40">
                  <c:v>23</c:v>
                </c:pt>
                <c:pt idx="41">
                  <c:v>23</c:v>
                </c:pt>
                <c:pt idx="42">
                  <c:v>23</c:v>
                </c:pt>
                <c:pt idx="43">
                  <c:v>25</c:v>
                </c:pt>
                <c:pt idx="44">
                  <c:v>25</c:v>
                </c:pt>
                <c:pt idx="45">
                  <c:v>29</c:v>
                </c:pt>
                <c:pt idx="46">
                  <c:v>31</c:v>
                </c:pt>
                <c:pt idx="47">
                  <c:v>32</c:v>
                </c:pt>
                <c:pt idx="48">
                  <c:v>33</c:v>
                </c:pt>
                <c:pt idx="49">
                  <c:v>35</c:v>
                </c:pt>
                <c:pt idx="50">
                  <c:v>37</c:v>
                </c:pt>
                <c:pt idx="51">
                  <c:v>39</c:v>
                </c:pt>
                <c:pt idx="52">
                  <c:v>40</c:v>
                </c:pt>
                <c:pt idx="53">
                  <c:v>44</c:v>
                </c:pt>
                <c:pt idx="54">
                  <c:v>45</c:v>
                </c:pt>
                <c:pt idx="55">
                  <c:v>47</c:v>
                </c:pt>
                <c:pt idx="56">
                  <c:v>54</c:v>
                </c:pt>
                <c:pt idx="57">
                  <c:v>58</c:v>
                </c:pt>
                <c:pt idx="58">
                  <c:v>62</c:v>
                </c:pt>
                <c:pt idx="59">
                  <c:v>65</c:v>
                </c:pt>
                <c:pt idx="60">
                  <c:v>66</c:v>
                </c:pt>
                <c:pt idx="61">
                  <c:v>73</c:v>
                </c:pt>
                <c:pt idx="62">
                  <c:v>77</c:v>
                </c:pt>
                <c:pt idx="63">
                  <c:v>83</c:v>
                </c:pt>
                <c:pt idx="64">
                  <c:v>90</c:v>
                </c:pt>
                <c:pt idx="65">
                  <c:v>92</c:v>
                </c:pt>
                <c:pt idx="66">
                  <c:v>94</c:v>
                </c:pt>
                <c:pt idx="67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8.590983192970409</c:v>
                </c:pt>
                <c:pt idx="50">
                  <c:v>29.182520692237233</c:v>
                </c:pt>
                <c:pt idx="51">
                  <c:v>29.774423498316853</c:v>
                </c:pt>
                <c:pt idx="52">
                  <c:v>30.366604388915995</c:v>
                </c:pt>
                <c:pt idx="53">
                  <c:v>30.958980560084488</c:v>
                </c:pt>
                <c:pt idx="54">
                  <c:v>31.551483030949136</c:v>
                </c:pt>
                <c:pt idx="55">
                  <c:v>32.144096031027082</c:v>
                </c:pt>
                <c:pt idx="56">
                  <c:v>32.736793690016221</c:v>
                </c:pt>
                <c:pt idx="57">
                  <c:v>33.329569341989441</c:v>
                </c:pt>
                <c:pt idx="58">
                  <c:v>33.922421092511264</c:v>
                </c:pt>
                <c:pt idx="59">
                  <c:v>34.515330863435288</c:v>
                </c:pt>
                <c:pt idx="60">
                  <c:v>35.108290360172859</c:v>
                </c:pt>
                <c:pt idx="61">
                  <c:v>35.701296275625161</c:v>
                </c:pt>
                <c:pt idx="62">
                  <c:v>36.294328158195817</c:v>
                </c:pt>
                <c:pt idx="63">
                  <c:v>36.887386968931288</c:v>
                </c:pt>
                <c:pt idx="64">
                  <c:v>37.480466355877205</c:v>
                </c:pt>
                <c:pt idx="65">
                  <c:v>38.073563437988788</c:v>
                </c:pt>
                <c:pt idx="66">
                  <c:v>38.666660520099875</c:v>
                </c:pt>
                <c:pt idx="67">
                  <c:v>39.259757602211458</c:v>
                </c:pt>
                <c:pt idx="68">
                  <c:v>39.852854684322544</c:v>
                </c:pt>
                <c:pt idx="69">
                  <c:v>40.445951766434128</c:v>
                </c:pt>
                <c:pt idx="70">
                  <c:v>41.039048848545214</c:v>
                </c:pt>
                <c:pt idx="71">
                  <c:v>41.632145930656797</c:v>
                </c:pt>
                <c:pt idx="72">
                  <c:v>42.225243012767883</c:v>
                </c:pt>
                <c:pt idx="73">
                  <c:v>42.818340094879467</c:v>
                </c:pt>
                <c:pt idx="74">
                  <c:v>43.4114371769905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8.695052803574495</c:v>
                </c:pt>
                <c:pt idx="50">
                  <c:v>29.403933617331298</c:v>
                </c:pt>
                <c:pt idx="51">
                  <c:v>30.126802040730635</c:v>
                </c:pt>
                <c:pt idx="52">
                  <c:v>30.86382426481331</c:v>
                </c:pt>
                <c:pt idx="53">
                  <c:v>31.615197164791795</c:v>
                </c:pt>
                <c:pt idx="54">
                  <c:v>32.381128442741321</c:v>
                </c:pt>
                <c:pt idx="55">
                  <c:v>33.161834082988605</c:v>
                </c:pt>
                <c:pt idx="56">
                  <c:v>33.957530815785702</c:v>
                </c:pt>
                <c:pt idx="57">
                  <c:v>34.768423731899233</c:v>
                </c:pt>
                <c:pt idx="58">
                  <c:v>35.594720774430854</c:v>
                </c:pt>
                <c:pt idx="59">
                  <c:v>36.436630391469244</c:v>
                </c:pt>
                <c:pt idx="60">
                  <c:v>37.294350602197866</c:v>
                </c:pt>
                <c:pt idx="61">
                  <c:v>38.168083140927401</c:v>
                </c:pt>
                <c:pt idx="62">
                  <c:v>39.058028680748862</c:v>
                </c:pt>
                <c:pt idx="63">
                  <c:v>39.964385248199235</c:v>
                </c:pt>
                <c:pt idx="64">
                  <c:v>40.887340313586392</c:v>
                </c:pt>
                <c:pt idx="65">
                  <c:v>41.827081458789266</c:v>
                </c:pt>
                <c:pt idx="66">
                  <c:v>42.783794324216295</c:v>
                </c:pt>
                <c:pt idx="67">
                  <c:v>43.757661560123005</c:v>
                </c:pt>
                <c:pt idx="68">
                  <c:v>44.748862242936454</c:v>
                </c:pt>
                <c:pt idx="69">
                  <c:v>45.757586567014954</c:v>
                </c:pt>
                <c:pt idx="70">
                  <c:v>46.784032205698665</c:v>
                </c:pt>
                <c:pt idx="71">
                  <c:v>47.828401546714531</c:v>
                </c:pt>
                <c:pt idx="72">
                  <c:v>48.890900405774097</c:v>
                </c:pt>
                <c:pt idx="73">
                  <c:v>49.971737443365868</c:v>
                </c:pt>
                <c:pt idx="74">
                  <c:v>51.0711241536391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8.837061120273205</c:v>
                </c:pt>
                <c:pt idx="50">
                  <c:v>29.706815067553894</c:v>
                </c:pt>
                <c:pt idx="51">
                  <c:v>30.610412777696279</c:v>
                </c:pt>
                <c:pt idx="52">
                  <c:v>31.549035236505386</c:v>
                </c:pt>
                <c:pt idx="53">
                  <c:v>32.523911216760474</c:v>
                </c:pt>
                <c:pt idx="54">
                  <c:v>33.536317113483896</c:v>
                </c:pt>
                <c:pt idx="55">
                  <c:v>34.587560697473648</c:v>
                </c:pt>
                <c:pt idx="56">
                  <c:v>35.678981076725414</c:v>
                </c:pt>
                <c:pt idx="57">
                  <c:v>36.811950360677486</c:v>
                </c:pt>
                <c:pt idx="58">
                  <c:v>37.987876079866005</c:v>
                </c:pt>
                <c:pt idx="59">
                  <c:v>39.208202472092658</c:v>
                </c:pt>
                <c:pt idx="60">
                  <c:v>40.474412365959559</c:v>
                </c:pt>
                <c:pt idx="61">
                  <c:v>41.788026370459626</c:v>
                </c:pt>
                <c:pt idx="62">
                  <c:v>43.150599651890964</c:v>
                </c:pt>
                <c:pt idx="63">
                  <c:v>44.563721542670422</c:v>
                </c:pt>
                <c:pt idx="64">
                  <c:v>46.029015518349667</c:v>
                </c:pt>
                <c:pt idx="65">
                  <c:v>47.548139386095833</c:v>
                </c:pt>
                <c:pt idx="66">
                  <c:v>49.1227848116527</c:v>
                </c:pt>
                <c:pt idx="67">
                  <c:v>50.754676717902299</c:v>
                </c:pt>
                <c:pt idx="68">
                  <c:v>52.445572537621999</c:v>
                </c:pt>
                <c:pt idx="69">
                  <c:v>54.19729102132996</c:v>
                </c:pt>
                <c:pt idx="70">
                  <c:v>56.011705643237619</c:v>
                </c:pt>
                <c:pt idx="71">
                  <c:v>57.890739756764454</c:v>
                </c:pt>
                <c:pt idx="72">
                  <c:v>59.836364427666936</c:v>
                </c:pt>
                <c:pt idx="73">
                  <c:v>61.850597467484292</c:v>
                </c:pt>
                <c:pt idx="74">
                  <c:v>63.9355033736446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9.848791253879924</c:v>
                </c:pt>
                <c:pt idx="50">
                  <c:v>31.885393567405725</c:v>
                </c:pt>
                <c:pt idx="51">
                  <c:v>34.159697401458239</c:v>
                </c:pt>
                <c:pt idx="52">
                  <c:v>36.652356372450242</c:v>
                </c:pt>
                <c:pt idx="53">
                  <c:v>39.327870851650843</c:v>
                </c:pt>
                <c:pt idx="54">
                  <c:v>42.228867103289353</c:v>
                </c:pt>
                <c:pt idx="55">
                  <c:v>45.435354295812843</c:v>
                </c:pt>
                <c:pt idx="56">
                  <c:v>48.928254730161925</c:v>
                </c:pt>
                <c:pt idx="57">
                  <c:v>52.730321201495961</c:v>
                </c:pt>
                <c:pt idx="58">
                  <c:v>56.88069905159135</c:v>
                </c:pt>
                <c:pt idx="59">
                  <c:v>61.378330190073534</c:v>
                </c:pt>
                <c:pt idx="60">
                  <c:v>66.2363501460203</c:v>
                </c:pt>
                <c:pt idx="61">
                  <c:v>71.506995052852716</c:v>
                </c:pt>
                <c:pt idx="62">
                  <c:v>77.148288963794101</c:v>
                </c:pt>
                <c:pt idx="63">
                  <c:v>83.126147016947129</c:v>
                </c:pt>
                <c:pt idx="64">
                  <c:v>89.404561981327163</c:v>
                </c:pt>
                <c:pt idx="65">
                  <c:v>95.966643475819737</c:v>
                </c:pt>
                <c:pt idx="66">
                  <c:v>102.79229933563199</c:v>
                </c:pt>
                <c:pt idx="67">
                  <c:v>109.86798321729616</c:v>
                </c:pt>
                <c:pt idx="68">
                  <c:v>117.19473794006424</c:v>
                </c:pt>
                <c:pt idx="69">
                  <c:v>124.75694164468513</c:v>
                </c:pt>
                <c:pt idx="70">
                  <c:v>132.53722082368182</c:v>
                </c:pt>
                <c:pt idx="71">
                  <c:v>140.52554506131253</c:v>
                </c:pt>
                <c:pt idx="72">
                  <c:v>148.71076302603166</c:v>
                </c:pt>
                <c:pt idx="73">
                  <c:v>157.0819000768326</c:v>
                </c:pt>
                <c:pt idx="74">
                  <c:v>165.631364309480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4</c:v>
                </c:pt>
                <c:pt idx="26">
                  <c:v>5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8</c:v>
                </c:pt>
                <c:pt idx="32">
                  <c:v>8</c:v>
                </c:pt>
                <c:pt idx="33">
                  <c:v>9</c:v>
                </c:pt>
                <c:pt idx="34">
                  <c:v>10</c:v>
                </c:pt>
                <c:pt idx="35">
                  <c:v>11</c:v>
                </c:pt>
                <c:pt idx="36">
                  <c:v>12</c:v>
                </c:pt>
                <c:pt idx="37">
                  <c:v>12</c:v>
                </c:pt>
                <c:pt idx="38">
                  <c:v>12</c:v>
                </c:pt>
                <c:pt idx="39">
                  <c:v>13</c:v>
                </c:pt>
                <c:pt idx="40">
                  <c:v>16</c:v>
                </c:pt>
                <c:pt idx="41">
                  <c:v>17</c:v>
                </c:pt>
                <c:pt idx="42">
                  <c:v>17</c:v>
                </c:pt>
                <c:pt idx="43">
                  <c:v>18</c:v>
                </c:pt>
                <c:pt idx="44">
                  <c:v>20</c:v>
                </c:pt>
                <c:pt idx="45">
                  <c:v>22</c:v>
                </c:pt>
                <c:pt idx="46">
                  <c:v>23</c:v>
                </c:pt>
                <c:pt idx="47">
                  <c:v>24</c:v>
                </c:pt>
                <c:pt idx="48">
                  <c:v>24</c:v>
                </c:pt>
                <c:pt idx="49">
                  <c:v>28</c:v>
                </c:pt>
                <c:pt idx="50">
                  <c:v>30</c:v>
                </c:pt>
                <c:pt idx="51">
                  <c:v>34</c:v>
                </c:pt>
                <c:pt idx="52">
                  <c:v>37</c:v>
                </c:pt>
                <c:pt idx="53">
                  <c:v>38</c:v>
                </c:pt>
                <c:pt idx="54">
                  <c:v>41</c:v>
                </c:pt>
                <c:pt idx="55">
                  <c:v>42</c:v>
                </c:pt>
                <c:pt idx="56">
                  <c:v>44</c:v>
                </c:pt>
                <c:pt idx="57">
                  <c:v>46</c:v>
                </c:pt>
                <c:pt idx="58">
                  <c:v>46</c:v>
                </c:pt>
                <c:pt idx="59">
                  <c:v>46</c:v>
                </c:pt>
                <c:pt idx="60">
                  <c:v>51</c:v>
                </c:pt>
                <c:pt idx="61">
                  <c:v>53</c:v>
                </c:pt>
                <c:pt idx="62">
                  <c:v>56</c:v>
                </c:pt>
                <c:pt idx="63">
                  <c:v>59</c:v>
                </c:pt>
                <c:pt idx="64">
                  <c:v>60</c:v>
                </c:pt>
                <c:pt idx="65">
                  <c:v>67</c:v>
                </c:pt>
                <c:pt idx="66">
                  <c:v>70</c:v>
                </c:pt>
                <c:pt idx="67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4.848866768084768</c:v>
                </c:pt>
                <c:pt idx="50">
                  <c:v>25.698529721577117</c:v>
                </c:pt>
                <c:pt idx="51">
                  <c:v>26.548717388491479</c:v>
                </c:pt>
                <c:pt idx="52">
                  <c:v>27.399304485897517</c:v>
                </c:pt>
                <c:pt idx="53">
                  <c:v>28.250172077212259</c:v>
                </c:pt>
                <c:pt idx="54">
                  <c:v>29.101221080817847</c:v>
                </c:pt>
                <c:pt idx="55">
                  <c:v>29.952428844566167</c:v>
                </c:pt>
                <c:pt idx="56">
                  <c:v>30.803758209296024</c:v>
                </c:pt>
                <c:pt idx="57">
                  <c:v>31.655199600312102</c:v>
                </c:pt>
                <c:pt idx="58">
                  <c:v>32.506750296516174</c:v>
                </c:pt>
                <c:pt idx="59">
                  <c:v>33.358384331116135</c:v>
                </c:pt>
                <c:pt idx="60">
                  <c:v>34.210089790066462</c:v>
                </c:pt>
                <c:pt idx="61">
                  <c:v>35.061861923170675</c:v>
                </c:pt>
                <c:pt idx="62">
                  <c:v>35.913671354499428</c:v>
                </c:pt>
                <c:pt idx="63">
                  <c:v>36.765519464464916</c:v>
                </c:pt>
                <c:pt idx="64">
                  <c:v>37.61739712935087</c:v>
                </c:pt>
                <c:pt idx="65">
                  <c:v>38.469300210929333</c:v>
                </c:pt>
                <c:pt idx="66">
                  <c:v>39.321203292507079</c:v>
                </c:pt>
                <c:pt idx="67">
                  <c:v>40.173106374085542</c:v>
                </c:pt>
                <c:pt idx="68">
                  <c:v>41.025009455663287</c:v>
                </c:pt>
                <c:pt idx="69">
                  <c:v>41.876912537241751</c:v>
                </c:pt>
                <c:pt idx="70">
                  <c:v>42.728815618819496</c:v>
                </c:pt>
                <c:pt idx="71">
                  <c:v>43.580718700397959</c:v>
                </c:pt>
                <c:pt idx="72">
                  <c:v>44.432621781975705</c:v>
                </c:pt>
                <c:pt idx="73">
                  <c:v>45.284524863554168</c:v>
                </c:pt>
                <c:pt idx="74">
                  <c:v>46.1364279451319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4.998348572407004</c:v>
                </c:pt>
                <c:pt idx="50">
                  <c:v>26.01655919580314</c:v>
                </c:pt>
                <c:pt idx="51">
                  <c:v>27.054861113049462</c:v>
                </c:pt>
                <c:pt idx="52">
                  <c:v>28.11349303491367</c:v>
                </c:pt>
                <c:pt idx="53">
                  <c:v>29.192737745791856</c:v>
                </c:pt>
                <c:pt idx="54">
                  <c:v>30.292893581392082</c:v>
                </c:pt>
                <c:pt idx="55">
                  <c:v>31.414270773747269</c:v>
                </c:pt>
                <c:pt idx="56">
                  <c:v>32.55718062631037</c:v>
                </c:pt>
                <c:pt idx="57">
                  <c:v>33.721917724000711</c:v>
                </c:pt>
                <c:pt idx="58">
                  <c:v>34.908780748727949</c:v>
                </c:pt>
                <c:pt idx="59">
                  <c:v>36.118069107746727</c:v>
                </c:pt>
                <c:pt idx="60">
                  <c:v>37.350067228611479</c:v>
                </c:pt>
                <c:pt idx="61">
                  <c:v>38.605064875150262</c:v>
                </c:pt>
                <c:pt idx="62">
                  <c:v>39.883350286893815</c:v>
                </c:pt>
                <c:pt idx="63">
                  <c:v>41.185207901958897</c:v>
                </c:pt>
                <c:pt idx="64">
                  <c:v>42.510906995878628</c:v>
                </c:pt>
                <c:pt idx="65">
                  <c:v>43.860717004442755</c:v>
                </c:pt>
                <c:pt idx="66">
                  <c:v>45.234904574783393</c:v>
                </c:pt>
                <c:pt idx="67">
                  <c:v>46.633732059085759</c:v>
                </c:pt>
                <c:pt idx="68">
                  <c:v>48.057456676217811</c:v>
                </c:pt>
                <c:pt idx="69">
                  <c:v>49.506351614439659</c:v>
                </c:pt>
                <c:pt idx="70">
                  <c:v>50.980700804548995</c:v>
                </c:pt>
                <c:pt idx="71">
                  <c:v>52.480794948917236</c:v>
                </c:pt>
                <c:pt idx="72">
                  <c:v>54.006929673748253</c:v>
                </c:pt>
                <c:pt idx="73">
                  <c:v>55.559404691380074</c:v>
                </c:pt>
                <c:pt idx="74">
                  <c:v>57.1385237843180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5.202324154574239</c:v>
                </c:pt>
                <c:pt idx="50">
                  <c:v>26.451607097031953</c:v>
                </c:pt>
                <c:pt idx="51">
                  <c:v>27.749501989781926</c:v>
                </c:pt>
                <c:pt idx="52">
                  <c:v>29.09770515788955</c:v>
                </c:pt>
                <c:pt idx="53">
                  <c:v>30.49798156589231</c:v>
                </c:pt>
                <c:pt idx="54">
                  <c:v>31.952164581185951</c:v>
                </c:pt>
                <c:pt idx="55">
                  <c:v>33.462132638189416</c:v>
                </c:pt>
                <c:pt idx="56">
                  <c:v>35.029809182932865</c:v>
                </c:pt>
                <c:pt idx="57">
                  <c:v>36.657165063518576</c:v>
                </c:pt>
                <c:pt idx="58">
                  <c:v>38.346222005625719</c:v>
                </c:pt>
                <c:pt idx="59">
                  <c:v>40.09905445991491</c:v>
                </c:pt>
                <c:pt idx="60">
                  <c:v>41.917792307469185</c:v>
                </c:pt>
                <c:pt idx="61">
                  <c:v>43.804619695751107</c:v>
                </c:pt>
                <c:pt idx="62">
                  <c:v>45.761770409079759</c:v>
                </c:pt>
                <c:pt idx="63">
                  <c:v>47.79152730674479</c:v>
                </c:pt>
                <c:pt idx="64">
                  <c:v>49.896222289993162</c:v>
                </c:pt>
                <c:pt idx="65">
                  <c:v>52.078236572755841</c:v>
                </c:pt>
                <c:pt idx="66">
                  <c:v>54.34000000219207</c:v>
                </c:pt>
                <c:pt idx="67">
                  <c:v>56.683990194805133</c:v>
                </c:pt>
                <c:pt idx="68">
                  <c:v>59.112731463129791</c:v>
                </c:pt>
                <c:pt idx="69">
                  <c:v>61.628836194273951</c:v>
                </c:pt>
                <c:pt idx="70">
                  <c:v>64.234995378468582</c:v>
                </c:pt>
                <c:pt idx="71">
                  <c:v>66.93397165062531</c:v>
                </c:pt>
                <c:pt idx="72">
                  <c:v>69.728596177921602</c:v>
                </c:pt>
                <c:pt idx="73">
                  <c:v>72.621767271477438</c:v>
                </c:pt>
                <c:pt idx="74">
                  <c:v>75.616450300325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6.664857838158312</c:v>
                </c:pt>
                <c:pt idx="50">
                  <c:v>29.599131332090742</c:v>
                </c:pt>
                <c:pt idx="51">
                  <c:v>32.8760284477586</c:v>
                </c:pt>
                <c:pt idx="52">
                  <c:v>36.468417072744671</c:v>
                </c:pt>
                <c:pt idx="53">
                  <c:v>40.32453336521364</c:v>
                </c:pt>
                <c:pt idx="54">
                  <c:v>44.503511502002667</c:v>
                </c:pt>
                <c:pt idx="55">
                  <c:v>49.121993945718764</c:v>
                </c:pt>
                <c:pt idx="56">
                  <c:v>54.152411600120928</c:v>
                </c:pt>
                <c:pt idx="57">
                  <c:v>59.627780407143888</c:v>
                </c:pt>
                <c:pt idx="58">
                  <c:v>65.605929958871855</c:v>
                </c:pt>
                <c:pt idx="59">
                  <c:v>72.084613452327204</c:v>
                </c:pt>
                <c:pt idx="60">
                  <c:v>79.081293754773668</c:v>
                </c:pt>
                <c:pt idx="61">
                  <c:v>86.671983535633359</c:v>
                </c:pt>
                <c:pt idx="62">
                  <c:v>94.796972477065239</c:v>
                </c:pt>
                <c:pt idx="63">
                  <c:v>103.40694879999565</c:v>
                </c:pt>
                <c:pt idx="64">
                  <c:v>112.45024058346037</c:v>
                </c:pt>
                <c:pt idx="65">
                  <c:v>121.90284064429638</c:v>
                </c:pt>
                <c:pt idx="66">
                  <c:v>131.73597498944127</c:v>
                </c:pt>
                <c:pt idx="67">
                  <c:v>141.93003282734776</c:v>
                </c:pt>
                <c:pt idx="68">
                  <c:v>152.48602997450129</c:v>
                </c:pt>
                <c:pt idx="69">
                  <c:v>163.3817633807671</c:v>
                </c:pt>
                <c:pt idx="70">
                  <c:v>174.59249295336568</c:v>
                </c:pt>
                <c:pt idx="71">
                  <c:v>186.10373902503085</c:v>
                </c:pt>
                <c:pt idx="72">
                  <c:v>197.89946814535284</c:v>
                </c:pt>
                <c:pt idx="73">
                  <c:v>209.96375191641451</c:v>
                </c:pt>
                <c:pt idx="74">
                  <c:v>222.285602978745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4</c:v>
                </c:pt>
                <c:pt idx="1">
                  <c:v>4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10</c:v>
                </c:pt>
                <c:pt idx="6">
                  <c:v>11</c:v>
                </c:pt>
                <c:pt idx="7">
                  <c:v>11</c:v>
                </c:pt>
                <c:pt idx="8">
                  <c:v>6</c:v>
                </c:pt>
                <c:pt idx="9">
                  <c:v>8</c:v>
                </c:pt>
                <c:pt idx="10">
                  <c:v>7</c:v>
                </c:pt>
                <c:pt idx="11">
                  <c:v>8</c:v>
                </c:pt>
                <c:pt idx="12">
                  <c:v>11</c:v>
                </c:pt>
                <c:pt idx="13">
                  <c:v>13</c:v>
                </c:pt>
                <c:pt idx="14">
                  <c:v>11</c:v>
                </c:pt>
                <c:pt idx="15">
                  <c:v>12</c:v>
                </c:pt>
                <c:pt idx="16">
                  <c:v>13</c:v>
                </c:pt>
                <c:pt idx="17">
                  <c:v>12</c:v>
                </c:pt>
                <c:pt idx="18">
                  <c:v>11</c:v>
                </c:pt>
                <c:pt idx="19">
                  <c:v>10</c:v>
                </c:pt>
                <c:pt idx="20">
                  <c:v>13</c:v>
                </c:pt>
                <c:pt idx="21">
                  <c:v>12</c:v>
                </c:pt>
                <c:pt idx="22">
                  <c:v>11</c:v>
                </c:pt>
                <c:pt idx="23">
                  <c:v>12</c:v>
                </c:pt>
                <c:pt idx="24">
                  <c:v>14</c:v>
                </c:pt>
                <c:pt idx="25">
                  <c:v>14</c:v>
                </c:pt>
                <c:pt idx="26">
                  <c:v>15</c:v>
                </c:pt>
                <c:pt idx="27">
                  <c:v>16</c:v>
                </c:pt>
                <c:pt idx="28">
                  <c:v>15</c:v>
                </c:pt>
                <c:pt idx="29">
                  <c:v>19</c:v>
                </c:pt>
                <c:pt idx="30">
                  <c:v>19</c:v>
                </c:pt>
                <c:pt idx="31">
                  <c:v>18</c:v>
                </c:pt>
                <c:pt idx="32">
                  <c:v>24</c:v>
                </c:pt>
                <c:pt idx="33">
                  <c:v>26</c:v>
                </c:pt>
                <c:pt idx="34">
                  <c:v>31</c:v>
                </c:pt>
                <c:pt idx="35">
                  <c:v>34</c:v>
                </c:pt>
                <c:pt idx="36">
                  <c:v>32</c:v>
                </c:pt>
                <c:pt idx="37">
                  <c:v>30</c:v>
                </c:pt>
                <c:pt idx="38">
                  <c:v>29</c:v>
                </c:pt>
                <c:pt idx="39">
                  <c:v>30</c:v>
                </c:pt>
                <c:pt idx="40">
                  <c:v>31</c:v>
                </c:pt>
                <c:pt idx="41">
                  <c:v>31</c:v>
                </c:pt>
                <c:pt idx="42">
                  <c:v>30</c:v>
                </c:pt>
                <c:pt idx="43">
                  <c:v>29</c:v>
                </c:pt>
                <c:pt idx="44">
                  <c:v>29</c:v>
                </c:pt>
                <c:pt idx="45">
                  <c:v>26</c:v>
                </c:pt>
                <c:pt idx="46">
                  <c:v>23</c:v>
                </c:pt>
                <c:pt idx="47">
                  <c:v>27</c:v>
                </c:pt>
                <c:pt idx="48">
                  <c:v>28</c:v>
                </c:pt>
                <c:pt idx="49">
                  <c:v>20</c:v>
                </c:pt>
                <c:pt idx="50">
                  <c:v>16</c:v>
                </c:pt>
                <c:pt idx="51">
                  <c:v>23</c:v>
                </c:pt>
                <c:pt idx="52">
                  <c:v>22</c:v>
                </c:pt>
                <c:pt idx="53">
                  <c:v>25</c:v>
                </c:pt>
                <c:pt idx="54">
                  <c:v>25</c:v>
                </c:pt>
                <c:pt idx="55">
                  <c:v>33</c:v>
                </c:pt>
                <c:pt idx="56">
                  <c:v>39</c:v>
                </c:pt>
                <c:pt idx="57">
                  <c:v>29</c:v>
                </c:pt>
                <c:pt idx="58">
                  <c:v>40</c:v>
                </c:pt>
                <c:pt idx="59">
                  <c:v>38</c:v>
                </c:pt>
                <c:pt idx="60">
                  <c:v>43</c:v>
                </c:pt>
                <c:pt idx="61">
                  <c:v>46</c:v>
                </c:pt>
                <c:pt idx="62">
                  <c:v>37</c:v>
                </c:pt>
                <c:pt idx="63">
                  <c:v>57</c:v>
                </c:pt>
                <c:pt idx="64">
                  <c:v>56</c:v>
                </c:pt>
                <c:pt idx="65">
                  <c:v>59</c:v>
                </c:pt>
                <c:pt idx="66">
                  <c:v>53</c:v>
                </c:pt>
                <c:pt idx="67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9.4342299309346096</c:v>
                </c:pt>
                <c:pt idx="50">
                  <c:v>9.4679247236985447</c:v>
                </c:pt>
                <c:pt idx="51">
                  <c:v>9.4965012865956986</c:v>
                </c:pt>
                <c:pt idx="52">
                  <c:v>9.5207745627686844</c:v>
                </c:pt>
                <c:pt idx="53">
                  <c:v>9.5414818288102037</c:v>
                </c:pt>
                <c:pt idx="54">
                  <c:v>9.5591958577181604</c:v>
                </c:pt>
                <c:pt idx="55">
                  <c:v>9.5743514291300098</c:v>
                </c:pt>
                <c:pt idx="56">
                  <c:v>9.5873138171751204</c:v>
                </c:pt>
                <c:pt idx="57">
                  <c:v>9.5983577427866305</c:v>
                </c:pt>
                <c:pt idx="58">
                  <c:v>9.6077671426972078</c:v>
                </c:pt>
                <c:pt idx="59">
                  <c:v>9.6157839303677903</c:v>
                </c:pt>
                <c:pt idx="60">
                  <c:v>9.6226142155258199</c:v>
                </c:pt>
                <c:pt idx="61">
                  <c:v>9.6284336031979176</c:v>
                </c:pt>
                <c:pt idx="62">
                  <c:v>9.6333917084738534</c:v>
                </c:pt>
                <c:pt idx="63">
                  <c:v>9.6376160030753493</c:v>
                </c:pt>
                <c:pt idx="64">
                  <c:v>9.6412150926241029</c:v>
                </c:pt>
                <c:pt idx="65">
                  <c:v>9.6442815088667935</c:v>
                </c:pt>
                <c:pt idx="66">
                  <c:v>9.6468940886445615</c:v>
                </c:pt>
                <c:pt idx="67">
                  <c:v>9.649120000769658</c:v>
                </c:pt>
                <c:pt idx="68">
                  <c:v>9.6510164729198351</c:v>
                </c:pt>
                <c:pt idx="69">
                  <c:v>9.652632262948492</c:v>
                </c:pt>
                <c:pt idx="70">
                  <c:v>9.654008912437634</c:v>
                </c:pt>
                <c:pt idx="71">
                  <c:v>9.6551818147221766</c:v>
                </c:pt>
                <c:pt idx="72">
                  <c:v>9.656181124844279</c:v>
                </c:pt>
                <c:pt idx="73">
                  <c:v>9.6570325348323873</c:v>
                </c:pt>
                <c:pt idx="74">
                  <c:v>9.65775793423725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1.667255116327407</c:v>
                </c:pt>
                <c:pt idx="50">
                  <c:v>11.938393093005173</c:v>
                </c:pt>
                <c:pt idx="51">
                  <c:v>12.211713722916464</c:v>
                </c:pt>
                <c:pt idx="52">
                  <c:v>12.48753661375275</c:v>
                </c:pt>
                <c:pt idx="53">
                  <c:v>12.76611096407423</c:v>
                </c:pt>
                <c:pt idx="54">
                  <c:v>13.047634939738652</c:v>
                </c:pt>
                <c:pt idx="55">
                  <c:v>13.33224069602101</c:v>
                </c:pt>
                <c:pt idx="56">
                  <c:v>13.620025797652788</c:v>
                </c:pt>
                <c:pt idx="57">
                  <c:v>13.911070754672425</c:v>
                </c:pt>
                <c:pt idx="58">
                  <c:v>14.205412492748028</c:v>
                </c:pt>
                <c:pt idx="59">
                  <c:v>14.503088355819319</c:v>
                </c:pt>
                <c:pt idx="60">
                  <c:v>14.804136110835556</c:v>
                </c:pt>
                <c:pt idx="61">
                  <c:v>15.108593952547132</c:v>
                </c:pt>
                <c:pt idx="62">
                  <c:v>15.416500508351451</c:v>
                </c:pt>
                <c:pt idx="63">
                  <c:v>15.727894843193679</c:v>
                </c:pt>
                <c:pt idx="64">
                  <c:v>16.042816464523039</c:v>
                </c:pt>
                <c:pt idx="65">
                  <c:v>16.36130532730521</c:v>
                </c:pt>
                <c:pt idx="66">
                  <c:v>16.683401839091534</c:v>
                </c:pt>
                <c:pt idx="67">
                  <c:v>17.009146865145635</c:v>
                </c:pt>
                <c:pt idx="68">
                  <c:v>17.338581733628089</c:v>
                </c:pt>
                <c:pt idx="69">
                  <c:v>17.671748240839861</c:v>
                </c:pt>
                <c:pt idx="70">
                  <c:v>18.008688656525106</c:v>
                </c:pt>
                <c:pt idx="71">
                  <c:v>18.349445729234048</c:v>
                </c:pt>
                <c:pt idx="72">
                  <c:v>18.694062691746602</c:v>
                </c:pt>
                <c:pt idx="73">
                  <c:v>19.04258326655744</c:v>
                </c:pt>
                <c:pt idx="74">
                  <c:v>19.3950516714231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4.837347433207027</c:v>
                </c:pt>
                <c:pt idx="50">
                  <c:v>15.472734677554811</c:v>
                </c:pt>
                <c:pt idx="51">
                  <c:v>16.130577451971135</c:v>
                </c:pt>
                <c:pt idx="52">
                  <c:v>16.811503086293381</c:v>
                </c:pt>
                <c:pt idx="53">
                  <c:v>17.516152203815551</c:v>
                </c:pt>
                <c:pt idx="54">
                  <c:v>18.245175296927705</c:v>
                </c:pt>
                <c:pt idx="55">
                  <c:v>18.999225750190607</c:v>
                </c:pt>
                <c:pt idx="56">
                  <c:v>19.778959262633627</c:v>
                </c:pt>
                <c:pt idx="57">
                  <c:v>20.5850342203452</c:v>
                </c:pt>
                <c:pt idx="58">
                  <c:v>21.418340506506912</c:v>
                </c:pt>
                <c:pt idx="59">
                  <c:v>22.279798066890631</c:v>
                </c:pt>
                <c:pt idx="60">
                  <c:v>23.170357925451754</c:v>
                </c:pt>
                <c:pt idx="61">
                  <c:v>24.091003234231842</c:v>
                </c:pt>
                <c:pt idx="62">
                  <c:v>25.042750358729712</c:v>
                </c:pt>
                <c:pt idx="63">
                  <c:v>26.026649999939245</c:v>
                </c:pt>
                <c:pt idx="64">
                  <c:v>27.043788354292545</c:v>
                </c:pt>
                <c:pt idx="65">
                  <c:v>28.095288312789034</c:v>
                </c:pt>
                <c:pt idx="66">
                  <c:v>29.182310700634289</c:v>
                </c:pt>
                <c:pt idx="67">
                  <c:v>30.306055558757123</c:v>
                </c:pt>
                <c:pt idx="68">
                  <c:v>31.467763468619676</c:v>
                </c:pt>
                <c:pt idx="69">
                  <c:v>32.668716921783059</c:v>
                </c:pt>
                <c:pt idx="70">
                  <c:v>33.910241735740563</c:v>
                </c:pt>
                <c:pt idx="71">
                  <c:v>35.193708517581364</c:v>
                </c:pt>
                <c:pt idx="72">
                  <c:v>36.520534177100693</c:v>
                </c:pt>
                <c:pt idx="73">
                  <c:v>37.892183491026827</c:v>
                </c:pt>
                <c:pt idx="74">
                  <c:v>39.310170720091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2.147902072732354</c:v>
                </c:pt>
                <c:pt idx="50">
                  <c:v>24.14994855211334</c:v>
                </c:pt>
                <c:pt idx="51">
                  <c:v>26.336105117171869</c:v>
                </c:pt>
                <c:pt idx="52">
                  <c:v>28.844283246441769</c:v>
                </c:pt>
                <c:pt idx="53">
                  <c:v>31.534881055075168</c:v>
                </c:pt>
                <c:pt idx="54">
                  <c:v>34.382519606820239</c:v>
                </c:pt>
                <c:pt idx="55">
                  <c:v>37.488208403957692</c:v>
                </c:pt>
                <c:pt idx="56">
                  <c:v>40.961786779123173</c:v>
                </c:pt>
                <c:pt idx="57">
                  <c:v>44.712152135006967</c:v>
                </c:pt>
                <c:pt idx="58">
                  <c:v>48.817914320722487</c:v>
                </c:pt>
                <c:pt idx="59">
                  <c:v>53.164050807352794</c:v>
                </c:pt>
                <c:pt idx="60">
                  <c:v>57.888633029771341</c:v>
                </c:pt>
                <c:pt idx="61">
                  <c:v>62.866078715516608</c:v>
                </c:pt>
                <c:pt idx="62">
                  <c:v>68.052716678018101</c:v>
                </c:pt>
                <c:pt idx="63">
                  <c:v>73.473951527309367</c:v>
                </c:pt>
                <c:pt idx="64">
                  <c:v>78.907434022432454</c:v>
                </c:pt>
                <c:pt idx="65">
                  <c:v>84.437644051290334</c:v>
                </c:pt>
                <c:pt idx="66">
                  <c:v>89.876687249087837</c:v>
                </c:pt>
                <c:pt idx="67">
                  <c:v>95.317502742628506</c:v>
                </c:pt>
                <c:pt idx="68">
                  <c:v>100.66554919059764</c:v>
                </c:pt>
                <c:pt idx="69">
                  <c:v>105.96332717623619</c:v>
                </c:pt>
                <c:pt idx="70">
                  <c:v>111.12980064567978</c:v>
                </c:pt>
                <c:pt idx="71">
                  <c:v>116.12158326931952</c:v>
                </c:pt>
                <c:pt idx="72">
                  <c:v>120.99505814947796</c:v>
                </c:pt>
                <c:pt idx="73">
                  <c:v>125.70161349060155</c:v>
                </c:pt>
                <c:pt idx="74">
                  <c:v>130.223512619782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6</c:v>
                </c:pt>
                <c:pt idx="46">
                  <c:v>6</c:v>
                </c:pt>
                <c:pt idx="47">
                  <c:v>7</c:v>
                </c:pt>
                <c:pt idx="48">
                  <c:v>8</c:v>
                </c:pt>
                <c:pt idx="49">
                  <c:v>8</c:v>
                </c:pt>
                <c:pt idx="50">
                  <c:v>8</c:v>
                </c:pt>
                <c:pt idx="51">
                  <c:v>9</c:v>
                </c:pt>
                <c:pt idx="52">
                  <c:v>10</c:v>
                </c:pt>
                <c:pt idx="53">
                  <c:v>10</c:v>
                </c:pt>
                <c:pt idx="54">
                  <c:v>11</c:v>
                </c:pt>
                <c:pt idx="55">
                  <c:v>11</c:v>
                </c:pt>
                <c:pt idx="56">
                  <c:v>12</c:v>
                </c:pt>
                <c:pt idx="57">
                  <c:v>14</c:v>
                </c:pt>
                <c:pt idx="58">
                  <c:v>17</c:v>
                </c:pt>
                <c:pt idx="59">
                  <c:v>17</c:v>
                </c:pt>
                <c:pt idx="60">
                  <c:v>24</c:v>
                </c:pt>
                <c:pt idx="61">
                  <c:v>29</c:v>
                </c:pt>
                <c:pt idx="62">
                  <c:v>31</c:v>
                </c:pt>
                <c:pt idx="63">
                  <c:v>34</c:v>
                </c:pt>
                <c:pt idx="64">
                  <c:v>38</c:v>
                </c:pt>
                <c:pt idx="65">
                  <c:v>42</c:v>
                </c:pt>
                <c:pt idx="66">
                  <c:v>43</c:v>
                </c:pt>
                <c:pt idx="67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8.2363932771881636</c:v>
                </c:pt>
                <c:pt idx="50">
                  <c:v>8.4730082768948947</c:v>
                </c:pt>
                <c:pt idx="51">
                  <c:v>8.709769399326742</c:v>
                </c:pt>
                <c:pt idx="52">
                  <c:v>8.9466417555663984</c:v>
                </c:pt>
                <c:pt idx="53">
                  <c:v>9.183592224033795</c:v>
                </c:pt>
                <c:pt idx="54">
                  <c:v>9.4205932123796554</c:v>
                </c:pt>
                <c:pt idx="55">
                  <c:v>9.657638412410833</c:v>
                </c:pt>
                <c:pt idx="56">
                  <c:v>9.8947174760064893</c:v>
                </c:pt>
                <c:pt idx="57">
                  <c:v>10.131827736795778</c:v>
                </c:pt>
                <c:pt idx="58">
                  <c:v>10.368968437004508</c:v>
                </c:pt>
                <c:pt idx="59">
                  <c:v>10.606132345374117</c:v>
                </c:pt>
                <c:pt idx="60">
                  <c:v>10.843316144069146</c:v>
                </c:pt>
                <c:pt idx="61">
                  <c:v>11.080518510250066</c:v>
                </c:pt>
                <c:pt idx="62">
                  <c:v>11.317731263278327</c:v>
                </c:pt>
                <c:pt idx="63">
                  <c:v>11.554954787572514</c:v>
                </c:pt>
                <c:pt idx="64">
                  <c:v>11.792186542350882</c:v>
                </c:pt>
                <c:pt idx="65">
                  <c:v>12.029425375195517</c:v>
                </c:pt>
                <c:pt idx="66">
                  <c:v>12.266664208039952</c:v>
                </c:pt>
                <c:pt idx="67">
                  <c:v>12.503903040884587</c:v>
                </c:pt>
                <c:pt idx="68">
                  <c:v>12.741141873729022</c:v>
                </c:pt>
                <c:pt idx="69">
                  <c:v>12.978380706573658</c:v>
                </c:pt>
                <c:pt idx="70">
                  <c:v>13.215619539418093</c:v>
                </c:pt>
                <c:pt idx="71">
                  <c:v>13.452858372262728</c:v>
                </c:pt>
                <c:pt idx="72">
                  <c:v>13.690097205107163</c:v>
                </c:pt>
                <c:pt idx="73">
                  <c:v>13.927336037951799</c:v>
                </c:pt>
                <c:pt idx="74">
                  <c:v>14.1645748707962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8.2780211214297985</c:v>
                </c:pt>
                <c:pt idx="50">
                  <c:v>8.5615734469325204</c:v>
                </c:pt>
                <c:pt idx="51">
                  <c:v>8.8507208162922559</c:v>
                </c:pt>
                <c:pt idx="52">
                  <c:v>9.1455297059253269</c:v>
                </c:pt>
                <c:pt idx="53">
                  <c:v>9.4460788659167214</c:v>
                </c:pt>
                <c:pt idx="54">
                  <c:v>9.7524513770965306</c:v>
                </c:pt>
                <c:pt idx="55">
                  <c:v>10.064733633195443</c:v>
                </c:pt>
                <c:pt idx="56">
                  <c:v>10.383012326314283</c:v>
                </c:pt>
                <c:pt idx="57">
                  <c:v>10.707369492759694</c:v>
                </c:pt>
                <c:pt idx="58">
                  <c:v>11.037888309772343</c:v>
                </c:pt>
                <c:pt idx="59">
                  <c:v>11.374652156587699</c:v>
                </c:pt>
                <c:pt idx="60">
                  <c:v>11.717740240879147</c:v>
                </c:pt>
                <c:pt idx="61">
                  <c:v>12.06723325637096</c:v>
                </c:pt>
                <c:pt idx="62">
                  <c:v>12.423211472299544</c:v>
                </c:pt>
                <c:pt idx="63">
                  <c:v>12.785754099279693</c:v>
                </c:pt>
                <c:pt idx="64">
                  <c:v>13.154936125434554</c:v>
                </c:pt>
                <c:pt idx="65">
                  <c:v>13.530832583515704</c:v>
                </c:pt>
                <c:pt idx="66">
                  <c:v>13.913517729686514</c:v>
                </c:pt>
                <c:pt idx="67">
                  <c:v>14.303064624049197</c:v>
                </c:pt>
                <c:pt idx="68">
                  <c:v>14.699544897174578</c:v>
                </c:pt>
                <c:pt idx="69">
                  <c:v>15.103034626805979</c:v>
                </c:pt>
                <c:pt idx="70">
                  <c:v>15.513612882279464</c:v>
                </c:pt>
                <c:pt idx="71">
                  <c:v>15.93136061868581</c:v>
                </c:pt>
                <c:pt idx="72">
                  <c:v>16.356360162309638</c:v>
                </c:pt>
                <c:pt idx="73">
                  <c:v>16.788694977346349</c:v>
                </c:pt>
                <c:pt idx="74">
                  <c:v>17.2284496614556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8.3348244481092824</c:v>
                </c:pt>
                <c:pt idx="50">
                  <c:v>8.6827260270215572</c:v>
                </c:pt>
                <c:pt idx="51">
                  <c:v>9.0441651110785113</c:v>
                </c:pt>
                <c:pt idx="52">
                  <c:v>9.4196140946021529</c:v>
                </c:pt>
                <c:pt idx="53">
                  <c:v>9.8095644867041862</c:v>
                </c:pt>
                <c:pt idx="54">
                  <c:v>10.214526845393554</c:v>
                </c:pt>
                <c:pt idx="55">
                  <c:v>10.635024278989455</c:v>
                </c:pt>
                <c:pt idx="56">
                  <c:v>11.071592430690162</c:v>
                </c:pt>
                <c:pt idx="57">
                  <c:v>11.524780144270991</c:v>
                </c:pt>
                <c:pt idx="58">
                  <c:v>11.995150431946399</c:v>
                </c:pt>
                <c:pt idx="59">
                  <c:v>12.483280988837061</c:v>
                </c:pt>
                <c:pt idx="60">
                  <c:v>12.98976494638382</c:v>
                </c:pt>
                <c:pt idx="61">
                  <c:v>13.515210548183848</c:v>
                </c:pt>
                <c:pt idx="62">
                  <c:v>14.060239860756385</c:v>
                </c:pt>
                <c:pt idx="63">
                  <c:v>14.625488617068166</c:v>
                </c:pt>
                <c:pt idx="64">
                  <c:v>15.211606207339866</c:v>
                </c:pt>
                <c:pt idx="65">
                  <c:v>15.819255754438334</c:v>
                </c:pt>
                <c:pt idx="66">
                  <c:v>16.449113924661081</c:v>
                </c:pt>
                <c:pt idx="67">
                  <c:v>17.101870687160922</c:v>
                </c:pt>
                <c:pt idx="68">
                  <c:v>17.778229015048801</c:v>
                </c:pt>
                <c:pt idx="69">
                  <c:v>18.478916408531983</c:v>
                </c:pt>
                <c:pt idx="70">
                  <c:v>19.204682257295048</c:v>
                </c:pt>
                <c:pt idx="71">
                  <c:v>19.956295902705779</c:v>
                </c:pt>
                <c:pt idx="72">
                  <c:v>20.734545771066774</c:v>
                </c:pt>
                <c:pt idx="73">
                  <c:v>21.540238986993717</c:v>
                </c:pt>
                <c:pt idx="74">
                  <c:v>22.374201349457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8.7736946376981848</c:v>
                </c:pt>
                <c:pt idx="50">
                  <c:v>9.621232856291531</c:v>
                </c:pt>
                <c:pt idx="51">
                  <c:v>10.568243621351426</c:v>
                </c:pt>
                <c:pt idx="52">
                  <c:v>11.609394920805954</c:v>
                </c:pt>
                <c:pt idx="53">
                  <c:v>12.727650861082553</c:v>
                </c:pt>
                <c:pt idx="54">
                  <c:v>13.932388938001585</c:v>
                </c:pt>
                <c:pt idx="55">
                  <c:v>15.261920228012945</c:v>
                </c:pt>
                <c:pt idx="56">
                  <c:v>16.708002846988691</c:v>
                </c:pt>
                <c:pt idx="57">
                  <c:v>18.280964978913872</c:v>
                </c:pt>
                <c:pt idx="58">
                  <c:v>20.00234113145217</c:v>
                </c:pt>
                <c:pt idx="59">
                  <c:v>21.869042400175175</c:v>
                </c:pt>
                <c:pt idx="60">
                  <c:v>23.881173056871269</c:v>
                </c:pt>
                <c:pt idx="61">
                  <c:v>26.063230373439051</c:v>
                </c:pt>
                <c:pt idx="62">
                  <c:v>28.400559458774559</c:v>
                </c:pt>
                <c:pt idx="63">
                  <c:v>30.878230117508021</c:v>
                </c:pt>
                <c:pt idx="64">
                  <c:v>33.482013830229164</c:v>
                </c:pt>
                <c:pt idx="65">
                  <c:v>36.206084113430691</c:v>
                </c:pt>
                <c:pt idx="66">
                  <c:v>39.04271819454226</c:v>
                </c:pt>
                <c:pt idx="67">
                  <c:v>41.985935376100514</c:v>
                </c:pt>
                <c:pt idx="68">
                  <c:v>45.034385264858777</c:v>
                </c:pt>
                <c:pt idx="69">
                  <c:v>48.182683058678364</c:v>
                </c:pt>
                <c:pt idx="70">
                  <c:v>51.424666153755837</c:v>
                </c:pt>
                <c:pt idx="71">
                  <c:v>54.756057126725416</c:v>
                </c:pt>
                <c:pt idx="72">
                  <c:v>58.172336472939662</c:v>
                </c:pt>
                <c:pt idx="73">
                  <c:v>61.668509986267793</c:v>
                </c:pt>
                <c:pt idx="74">
                  <c:v>65.2412379492602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7</c:v>
                </c:pt>
                <c:pt idx="44">
                  <c:v>7</c:v>
                </c:pt>
                <c:pt idx="45">
                  <c:v>7</c:v>
                </c:pt>
                <c:pt idx="46">
                  <c:v>7</c:v>
                </c:pt>
                <c:pt idx="47">
                  <c:v>7</c:v>
                </c:pt>
                <c:pt idx="48">
                  <c:v>7</c:v>
                </c:pt>
                <c:pt idx="49">
                  <c:v>7</c:v>
                </c:pt>
                <c:pt idx="50">
                  <c:v>7</c:v>
                </c:pt>
                <c:pt idx="51">
                  <c:v>7</c:v>
                </c:pt>
                <c:pt idx="52">
                  <c:v>8</c:v>
                </c:pt>
                <c:pt idx="53">
                  <c:v>8</c:v>
                </c:pt>
                <c:pt idx="54">
                  <c:v>8</c:v>
                </c:pt>
                <c:pt idx="55">
                  <c:v>8</c:v>
                </c:pt>
                <c:pt idx="56">
                  <c:v>8</c:v>
                </c:pt>
                <c:pt idx="57">
                  <c:v>8</c:v>
                </c:pt>
                <c:pt idx="58">
                  <c:v>8</c:v>
                </c:pt>
                <c:pt idx="59">
                  <c:v>8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9</c:v>
                </c:pt>
                <c:pt idx="64">
                  <c:v>9</c:v>
                </c:pt>
                <c:pt idx="65">
                  <c:v>9</c:v>
                </c:pt>
                <c:pt idx="66">
                  <c:v>9</c:v>
                </c:pt>
                <c:pt idx="67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5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  <c:pt idx="26">
                  <c:v>9</c:v>
                </c:pt>
                <c:pt idx="27">
                  <c:v>9</c:v>
                </c:pt>
                <c:pt idx="28">
                  <c:v>9</c:v>
                </c:pt>
                <c:pt idx="29">
                  <c:v>9</c:v>
                </c:pt>
                <c:pt idx="30">
                  <c:v>9</c:v>
                </c:pt>
                <c:pt idx="31">
                  <c:v>9</c:v>
                </c:pt>
                <c:pt idx="32">
                  <c:v>9</c:v>
                </c:pt>
                <c:pt idx="33">
                  <c:v>11</c:v>
                </c:pt>
                <c:pt idx="34">
                  <c:v>11</c:v>
                </c:pt>
                <c:pt idx="35">
                  <c:v>13</c:v>
                </c:pt>
                <c:pt idx="36">
                  <c:v>13</c:v>
                </c:pt>
                <c:pt idx="37">
                  <c:v>13</c:v>
                </c:pt>
                <c:pt idx="38">
                  <c:v>13</c:v>
                </c:pt>
                <c:pt idx="39">
                  <c:v>13</c:v>
                </c:pt>
                <c:pt idx="40">
                  <c:v>17</c:v>
                </c:pt>
                <c:pt idx="41">
                  <c:v>17</c:v>
                </c:pt>
                <c:pt idx="42">
                  <c:v>18</c:v>
                </c:pt>
                <c:pt idx="43">
                  <c:v>21</c:v>
                </c:pt>
                <c:pt idx="44">
                  <c:v>22</c:v>
                </c:pt>
                <c:pt idx="45">
                  <c:v>22</c:v>
                </c:pt>
                <c:pt idx="46">
                  <c:v>22</c:v>
                </c:pt>
                <c:pt idx="47">
                  <c:v>22</c:v>
                </c:pt>
                <c:pt idx="48">
                  <c:v>23</c:v>
                </c:pt>
                <c:pt idx="49">
                  <c:v>27</c:v>
                </c:pt>
                <c:pt idx="50">
                  <c:v>30</c:v>
                </c:pt>
                <c:pt idx="51">
                  <c:v>33</c:v>
                </c:pt>
                <c:pt idx="52">
                  <c:v>34</c:v>
                </c:pt>
                <c:pt idx="53">
                  <c:v>36</c:v>
                </c:pt>
                <c:pt idx="54">
                  <c:v>38</c:v>
                </c:pt>
                <c:pt idx="55">
                  <c:v>42</c:v>
                </c:pt>
                <c:pt idx="56">
                  <c:v>46</c:v>
                </c:pt>
                <c:pt idx="57">
                  <c:v>47</c:v>
                </c:pt>
                <c:pt idx="58">
                  <c:v>48</c:v>
                </c:pt>
                <c:pt idx="59">
                  <c:v>51</c:v>
                </c:pt>
                <c:pt idx="60">
                  <c:v>52</c:v>
                </c:pt>
                <c:pt idx="61">
                  <c:v>61</c:v>
                </c:pt>
                <c:pt idx="62">
                  <c:v>63</c:v>
                </c:pt>
                <c:pt idx="63">
                  <c:v>65</c:v>
                </c:pt>
                <c:pt idx="64">
                  <c:v>68</c:v>
                </c:pt>
                <c:pt idx="65">
                  <c:v>73</c:v>
                </c:pt>
                <c:pt idx="66">
                  <c:v>78</c:v>
                </c:pt>
                <c:pt idx="67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3.730670129490687</c:v>
                </c:pt>
                <c:pt idx="50">
                  <c:v>24.46202558312967</c:v>
                </c:pt>
                <c:pt idx="51">
                  <c:v>25.19383268882811</c:v>
                </c:pt>
                <c:pt idx="52">
                  <c:v>25.925983608114322</c:v>
                </c:pt>
                <c:pt idx="53">
                  <c:v>26.658375965195368</c:v>
                </c:pt>
                <c:pt idx="54">
                  <c:v>27.390924474628026</c:v>
                </c:pt>
                <c:pt idx="55">
                  <c:v>28.123609638360758</c:v>
                </c:pt>
                <c:pt idx="56">
                  <c:v>28.856399471292786</c:v>
                </c:pt>
                <c:pt idx="57">
                  <c:v>29.58928573191422</c:v>
                </c:pt>
                <c:pt idx="58">
                  <c:v>30.322266078013929</c:v>
                </c:pt>
                <c:pt idx="59">
                  <c:v>31.055318158429088</c:v>
                </c:pt>
                <c:pt idx="60">
                  <c:v>31.788431718031905</c:v>
                </c:pt>
                <c:pt idx="61">
                  <c:v>32.521602668045659</c:v>
                </c:pt>
                <c:pt idx="62">
                  <c:v>33.254805722860283</c:v>
                </c:pt>
                <c:pt idx="63">
                  <c:v>33.988042070678681</c:v>
                </c:pt>
                <c:pt idx="64">
                  <c:v>34.721303858175453</c:v>
                </c:pt>
                <c:pt idx="65">
                  <c:v>35.454587523331597</c:v>
                </c:pt>
                <c:pt idx="66">
                  <c:v>36.187871188487122</c:v>
                </c:pt>
                <c:pt idx="67">
                  <c:v>36.921154853643266</c:v>
                </c:pt>
                <c:pt idx="68">
                  <c:v>37.654438518798791</c:v>
                </c:pt>
                <c:pt idx="69">
                  <c:v>38.387722183954935</c:v>
                </c:pt>
                <c:pt idx="70">
                  <c:v>39.12100584911046</c:v>
                </c:pt>
                <c:pt idx="71">
                  <c:v>39.854289514266604</c:v>
                </c:pt>
                <c:pt idx="72">
                  <c:v>40.587573179422129</c:v>
                </c:pt>
                <c:pt idx="73">
                  <c:v>41.320856844578273</c:v>
                </c:pt>
                <c:pt idx="74">
                  <c:v>42.054140509733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3.859338011692103</c:v>
                </c:pt>
                <c:pt idx="50">
                  <c:v>24.73577247233688</c:v>
                </c:pt>
                <c:pt idx="51">
                  <c:v>25.629500704903332</c:v>
                </c:pt>
                <c:pt idx="52">
                  <c:v>26.540728181951003</c:v>
                </c:pt>
                <c:pt idx="53">
                  <c:v>27.469698312833494</c:v>
                </c:pt>
                <c:pt idx="54">
                  <c:v>28.416667892843812</c:v>
                </c:pt>
                <c:pt idx="55">
                  <c:v>29.381903957149543</c:v>
                </c:pt>
                <c:pt idx="56">
                  <c:v>30.365674463153226</c:v>
                </c:pt>
                <c:pt idx="57">
                  <c:v>31.36823297762086</c:v>
                </c:pt>
                <c:pt idx="58">
                  <c:v>32.389836593841778</c:v>
                </c:pt>
                <c:pt idx="59">
                  <c:v>33.430743029452877</c:v>
                </c:pt>
                <c:pt idx="60">
                  <c:v>34.491197108171903</c:v>
                </c:pt>
                <c:pt idx="61">
                  <c:v>35.571448246964778</c:v>
                </c:pt>
                <c:pt idx="62">
                  <c:v>36.671744550744037</c:v>
                </c:pt>
                <c:pt idx="63">
                  <c:v>37.792330852319047</c:v>
                </c:pt>
                <c:pt idx="64">
                  <c:v>38.933438933161348</c:v>
                </c:pt>
                <c:pt idx="65">
                  <c:v>40.095300712684903</c:v>
                </c:pt>
                <c:pt idx="66">
                  <c:v>41.278145709940134</c:v>
                </c:pt>
                <c:pt idx="67">
                  <c:v>42.482199747061152</c:v>
                </c:pt>
                <c:pt idx="68">
                  <c:v>43.707684227630509</c:v>
                </c:pt>
                <c:pt idx="69">
                  <c:v>44.954834301036655</c:v>
                </c:pt>
                <c:pt idx="70">
                  <c:v>46.223894363409251</c:v>
                </c:pt>
                <c:pt idx="71">
                  <c:v>47.515114639574321</c:v>
                </c:pt>
                <c:pt idx="72">
                  <c:v>48.828749592593425</c:v>
                </c:pt>
                <c:pt idx="73">
                  <c:v>50.16505720270689</c:v>
                </c:pt>
                <c:pt idx="74">
                  <c:v>51.524298953590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4.034911930519598</c:v>
                </c:pt>
                <c:pt idx="50">
                  <c:v>25.110244083521177</c:v>
                </c:pt>
                <c:pt idx="51">
                  <c:v>26.227419434242673</c:v>
                </c:pt>
                <c:pt idx="52">
                  <c:v>27.387898110588477</c:v>
                </c:pt>
                <c:pt idx="53">
                  <c:v>28.593199322540219</c:v>
                </c:pt>
                <c:pt idx="54">
                  <c:v>29.844901158489172</c:v>
                </c:pt>
                <c:pt idx="55">
                  <c:v>31.144620498694685</c:v>
                </c:pt>
                <c:pt idx="56">
                  <c:v>32.494012967587778</c:v>
                </c:pt>
                <c:pt idx="57">
                  <c:v>33.894774991383073</c:v>
                </c:pt>
                <c:pt idx="58">
                  <c:v>35.348646789652513</c:v>
                </c:pt>
                <c:pt idx="59">
                  <c:v>36.857413965496377</c:v>
                </c:pt>
                <c:pt idx="60">
                  <c:v>38.42290983427727</c:v>
                </c:pt>
                <c:pt idx="61">
                  <c:v>40.047014421659178</c:v>
                </c:pt>
                <c:pt idx="62">
                  <c:v>41.73165047870156</c:v>
                </c:pt>
                <c:pt idx="63">
                  <c:v>43.478782998210704</c:v>
                </c:pt>
                <c:pt idx="64">
                  <c:v>45.290419186323227</c:v>
                </c:pt>
                <c:pt idx="65">
                  <c:v>47.168608695536669</c:v>
                </c:pt>
                <c:pt idx="66">
                  <c:v>49.115443039861525</c:v>
                </c:pt>
                <c:pt idx="67">
                  <c:v>51.133054851224671</c:v>
                </c:pt>
                <c:pt idx="68">
                  <c:v>53.223616955605394</c:v>
                </c:pt>
                <c:pt idx="69">
                  <c:v>55.389377990007958</c:v>
                </c:pt>
                <c:pt idx="70">
                  <c:v>57.632654249821059</c:v>
                </c:pt>
                <c:pt idx="71">
                  <c:v>59.955823699272415</c:v>
                </c:pt>
                <c:pt idx="72">
                  <c:v>62.361323292388214</c:v>
                </c:pt>
                <c:pt idx="73">
                  <c:v>64.851647777980588</c:v>
                </c:pt>
                <c:pt idx="74">
                  <c:v>67.4293496255970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25.397633995820975</c:v>
                </c:pt>
                <c:pt idx="50">
                  <c:v>28.023278906597319</c:v>
                </c:pt>
                <c:pt idx="51">
                  <c:v>30.95718294977134</c:v>
                </c:pt>
                <c:pt idx="52">
                  <c:v>34.183302913732199</c:v>
                </c:pt>
                <c:pt idx="53">
                  <c:v>37.648466756150114</c:v>
                </c:pt>
                <c:pt idx="54">
                  <c:v>41.380264371402319</c:v>
                </c:pt>
                <c:pt idx="55">
                  <c:v>45.498258615619612</c:v>
                </c:pt>
                <c:pt idx="56">
                  <c:v>49.976863518860306</c:v>
                </c:pt>
                <c:pt idx="57">
                  <c:v>54.848225661791147</c:v>
                </c:pt>
                <c:pt idx="58">
                  <c:v>60.179974681000459</c:v>
                </c:pt>
                <c:pt idx="59">
                  <c:v>65.962078386749766</c:v>
                </c:pt>
                <c:pt idx="60">
                  <c:v>72.193922720959037</c:v>
                </c:pt>
                <c:pt idx="61">
                  <c:v>78.951881581956684</c:v>
                </c:pt>
                <c:pt idx="62">
                  <c:v>86.191046304077162</c:v>
                </c:pt>
                <c:pt idx="63">
                  <c:v>93.865033328793729</c:v>
                </c:pt>
                <c:pt idx="64">
                  <c:v>101.92989530028983</c:v>
                </c:pt>
                <c:pt idx="65">
                  <c:v>110.36779211844082</c:v>
                </c:pt>
                <c:pt idx="66">
                  <c:v>119.15491050318326</c:v>
                </c:pt>
                <c:pt idx="67">
                  <c:v>128.27266245143471</c:v>
                </c:pt>
                <c:pt idx="68">
                  <c:v>137.7165526529877</c:v>
                </c:pt>
                <c:pt idx="69">
                  <c:v>147.47009425424301</c:v>
                </c:pt>
                <c:pt idx="70">
                  <c:v>157.51438226147863</c:v>
                </c:pt>
                <c:pt idx="71">
                  <c:v>167.83614731936956</c:v>
                </c:pt>
                <c:pt idx="72">
                  <c:v>178.4214093277275</c:v>
                </c:pt>
                <c:pt idx="73">
                  <c:v>189.25462176765222</c:v>
                </c:pt>
                <c:pt idx="74">
                  <c:v>200.325406793253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8</c:v>
                </c:pt>
                <c:pt idx="36">
                  <c:v>8</c:v>
                </c:pt>
                <c:pt idx="37">
                  <c:v>8</c:v>
                </c:pt>
                <c:pt idx="38">
                  <c:v>8</c:v>
                </c:pt>
                <c:pt idx="39">
                  <c:v>8</c:v>
                </c:pt>
                <c:pt idx="40">
                  <c:v>8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9</c:v>
                </c:pt>
                <c:pt idx="45">
                  <c:v>9</c:v>
                </c:pt>
                <c:pt idx="46">
                  <c:v>10</c:v>
                </c:pt>
                <c:pt idx="47">
                  <c:v>11</c:v>
                </c:pt>
                <c:pt idx="48">
                  <c:v>11</c:v>
                </c:pt>
                <c:pt idx="49">
                  <c:v>11</c:v>
                </c:pt>
                <c:pt idx="50">
                  <c:v>11</c:v>
                </c:pt>
                <c:pt idx="51">
                  <c:v>13</c:v>
                </c:pt>
                <c:pt idx="52">
                  <c:v>13</c:v>
                </c:pt>
                <c:pt idx="53">
                  <c:v>14</c:v>
                </c:pt>
                <c:pt idx="54">
                  <c:v>14</c:v>
                </c:pt>
                <c:pt idx="55">
                  <c:v>15</c:v>
                </c:pt>
                <c:pt idx="56">
                  <c:v>15</c:v>
                </c:pt>
                <c:pt idx="57">
                  <c:v>17</c:v>
                </c:pt>
                <c:pt idx="58">
                  <c:v>18</c:v>
                </c:pt>
                <c:pt idx="59">
                  <c:v>19</c:v>
                </c:pt>
                <c:pt idx="60">
                  <c:v>19</c:v>
                </c:pt>
                <c:pt idx="61">
                  <c:v>21</c:v>
                </c:pt>
                <c:pt idx="62">
                  <c:v>21</c:v>
                </c:pt>
                <c:pt idx="63">
                  <c:v>21</c:v>
                </c:pt>
                <c:pt idx="64">
                  <c:v>22</c:v>
                </c:pt>
                <c:pt idx="65">
                  <c:v>22</c:v>
                </c:pt>
                <c:pt idx="66">
                  <c:v>23</c:v>
                </c:pt>
                <c:pt idx="67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1.214902979261966</c:v>
                </c:pt>
                <c:pt idx="50">
                  <c:v>11.430007524449902</c:v>
                </c:pt>
                <c:pt idx="51">
                  <c:v>11.645244908478855</c:v>
                </c:pt>
                <c:pt idx="52">
                  <c:v>11.86058341415127</c:v>
                </c:pt>
                <c:pt idx="53">
                  <c:v>12.075992930939812</c:v>
                </c:pt>
                <c:pt idx="54">
                  <c:v>12.291448374890594</c:v>
                </c:pt>
                <c:pt idx="55">
                  <c:v>12.506944011282574</c:v>
                </c:pt>
                <c:pt idx="56">
                  <c:v>12.72247043273317</c:v>
                </c:pt>
                <c:pt idx="57">
                  <c:v>12.938025215268885</c:v>
                </c:pt>
                <c:pt idx="58">
                  <c:v>13.153607670004094</c:v>
                </c:pt>
                <c:pt idx="59">
                  <c:v>13.369211223067376</c:v>
                </c:pt>
                <c:pt idx="60">
                  <c:v>13.584832858244676</c:v>
                </c:pt>
                <c:pt idx="61">
                  <c:v>13.800471372954604</c:v>
                </c:pt>
                <c:pt idx="62">
                  <c:v>14.016119330253023</c:v>
                </c:pt>
                <c:pt idx="63">
                  <c:v>14.231777079611375</c:v>
                </c:pt>
                <c:pt idx="64">
                  <c:v>14.447442311228071</c:v>
                </c:pt>
                <c:pt idx="65">
                  <c:v>14.663113977450466</c:v>
                </c:pt>
                <c:pt idx="66">
                  <c:v>14.87878564367268</c:v>
                </c:pt>
                <c:pt idx="67">
                  <c:v>15.094457309895075</c:v>
                </c:pt>
                <c:pt idx="68">
                  <c:v>15.310128976117289</c:v>
                </c:pt>
                <c:pt idx="69">
                  <c:v>15.525800642339684</c:v>
                </c:pt>
                <c:pt idx="70">
                  <c:v>15.741472308561898</c:v>
                </c:pt>
                <c:pt idx="71">
                  <c:v>15.957143974784293</c:v>
                </c:pt>
                <c:pt idx="72">
                  <c:v>16.172815641006508</c:v>
                </c:pt>
                <c:pt idx="73">
                  <c:v>16.388487307228903</c:v>
                </c:pt>
                <c:pt idx="74">
                  <c:v>16.604158973451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1.25274647402709</c:v>
                </c:pt>
                <c:pt idx="50">
                  <c:v>11.5105213153932</c:v>
                </c:pt>
                <c:pt idx="51">
                  <c:v>11.773382560265686</c:v>
                </c:pt>
                <c:pt idx="52">
                  <c:v>12.041390641750295</c:v>
                </c:pt>
                <c:pt idx="53">
                  <c:v>12.314617150833381</c:v>
                </c:pt>
                <c:pt idx="54">
                  <c:v>12.593137615542298</c:v>
                </c:pt>
                <c:pt idx="55">
                  <c:v>12.877030575632219</c:v>
                </c:pt>
                <c:pt idx="56">
                  <c:v>13.16637484210389</c:v>
                </c:pt>
                <c:pt idx="57">
                  <c:v>13.4612449934179</c:v>
                </c:pt>
                <c:pt idx="58">
                  <c:v>13.761716645247581</c:v>
                </c:pt>
                <c:pt idx="59">
                  <c:v>14.067865596897905</c:v>
                </c:pt>
                <c:pt idx="60">
                  <c:v>14.379763855344677</c:v>
                </c:pt>
                <c:pt idx="61">
                  <c:v>14.697484778519053</c:v>
                </c:pt>
                <c:pt idx="62">
                  <c:v>15.02110133845413</c:v>
                </c:pt>
                <c:pt idx="63">
                  <c:v>15.35068554479972</c:v>
                </c:pt>
                <c:pt idx="64">
                  <c:v>15.686305568576866</c:v>
                </c:pt>
                <c:pt idx="65">
                  <c:v>16.028029621377911</c:v>
                </c:pt>
                <c:pt idx="66">
                  <c:v>16.375925208805921</c:v>
                </c:pt>
                <c:pt idx="67">
                  <c:v>16.730058749135633</c:v>
                </c:pt>
                <c:pt idx="68">
                  <c:v>17.090495361067799</c:v>
                </c:pt>
                <c:pt idx="69">
                  <c:v>17.457304206187253</c:v>
                </c:pt>
                <c:pt idx="70">
                  <c:v>17.830557165708605</c:v>
                </c:pt>
                <c:pt idx="71">
                  <c:v>18.210327835168918</c:v>
                </c:pt>
                <c:pt idx="72">
                  <c:v>18.596691056645124</c:v>
                </c:pt>
                <c:pt idx="73">
                  <c:v>18.989722706678496</c:v>
                </c:pt>
                <c:pt idx="74">
                  <c:v>19.389499692232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1.304385861917529</c:v>
                </c:pt>
                <c:pt idx="50">
                  <c:v>11.620660024565051</c:v>
                </c:pt>
                <c:pt idx="51">
                  <c:v>11.949241010071374</c:v>
                </c:pt>
                <c:pt idx="52">
                  <c:v>12.29055826782014</c:v>
                </c:pt>
                <c:pt idx="53">
                  <c:v>12.645058624276535</c:v>
                </c:pt>
                <c:pt idx="54">
                  <c:v>13.013206223085051</c:v>
                </c:pt>
                <c:pt idx="55">
                  <c:v>13.395476617263144</c:v>
                </c:pt>
                <c:pt idx="56">
                  <c:v>13.792356755172879</c:v>
                </c:pt>
                <c:pt idx="57">
                  <c:v>14.204345585700906</c:v>
                </c:pt>
                <c:pt idx="58">
                  <c:v>14.631954938133095</c:v>
                </c:pt>
                <c:pt idx="59">
                  <c:v>15.075709989851878</c:v>
                </c:pt>
                <c:pt idx="60">
                  <c:v>15.536149951258023</c:v>
                </c:pt>
                <c:pt idx="61">
                  <c:v>16.01382777107623</c:v>
                </c:pt>
                <c:pt idx="62">
                  <c:v>16.509308964323989</c:v>
                </c:pt>
                <c:pt idx="63">
                  <c:v>17.023171470061971</c:v>
                </c:pt>
                <c:pt idx="64">
                  <c:v>17.556005643036244</c:v>
                </c:pt>
                <c:pt idx="65">
                  <c:v>18.108414322216667</c:v>
                </c:pt>
                <c:pt idx="66">
                  <c:v>18.681012658782802</c:v>
                </c:pt>
                <c:pt idx="67">
                  <c:v>19.27442789741902</c:v>
                </c:pt>
                <c:pt idx="68">
                  <c:v>19.889299104589821</c:v>
                </c:pt>
                <c:pt idx="69">
                  <c:v>20.526287644119986</c:v>
                </c:pt>
                <c:pt idx="70">
                  <c:v>21.186074779359135</c:v>
                </c:pt>
                <c:pt idx="71">
                  <c:v>21.86935991155071</c:v>
                </c:pt>
                <c:pt idx="72">
                  <c:v>22.576859791878885</c:v>
                </c:pt>
                <c:pt idx="73">
                  <c:v>23.309308169994289</c:v>
                </c:pt>
                <c:pt idx="74">
                  <c:v>24.06745577223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1.654421884788995</c:v>
                </c:pt>
                <c:pt idx="50">
                  <c:v>12.377808231907251</c:v>
                </c:pt>
                <c:pt idx="51">
                  <c:v>13.185335709674202</c:v>
                </c:pt>
                <c:pt idx="52">
                  <c:v>14.068711304709298</c:v>
                </c:pt>
                <c:pt idx="53">
                  <c:v>15.016508537652332</c:v>
                </c:pt>
                <c:pt idx="54">
                  <c:v>16.04823875974671</c:v>
                </c:pt>
                <c:pt idx="55">
                  <c:v>17.189699159322409</c:v>
                </c:pt>
                <c:pt idx="56">
                  <c:v>18.434271675439557</c:v>
                </c:pt>
                <c:pt idx="57">
                  <c:v>19.78958863096998</c:v>
                </c:pt>
                <c:pt idx="58">
                  <c:v>21.266812956288685</c:v>
                </c:pt>
                <c:pt idx="59">
                  <c:v>22.866953308768728</c:v>
                </c:pt>
                <c:pt idx="60">
                  <c:v>24.597478258447104</c:v>
                </c:pt>
                <c:pt idx="61">
                  <c:v>26.475499471427053</c:v>
                </c:pt>
                <c:pt idx="62">
                  <c:v>28.484636689449921</c:v>
                </c:pt>
                <c:pt idx="63">
                  <c:v>30.613173002826887</c:v>
                </c:pt>
                <c:pt idx="64">
                  <c:v>32.847923723503946</c:v>
                </c:pt>
                <c:pt idx="65">
                  <c:v>35.182260931403441</c:v>
                </c:pt>
                <c:pt idx="66">
                  <c:v>37.608714199623961</c:v>
                </c:pt>
                <c:pt idx="67">
                  <c:v>40.122651441489808</c:v>
                </c:pt>
                <c:pt idx="68">
                  <c:v>42.725375795406073</c:v>
                </c:pt>
                <c:pt idx="69">
                  <c:v>45.410754979465068</c:v>
                </c:pt>
                <c:pt idx="70">
                  <c:v>48.172060073190863</c:v>
                </c:pt>
                <c:pt idx="71">
                  <c:v>51.005782309781623</c:v>
                </c:pt>
                <c:pt idx="72">
                  <c:v>53.907897485872404</c:v>
                </c:pt>
                <c:pt idx="73">
                  <c:v>56.874730733000511</c:v>
                </c:pt>
                <c:pt idx="74">
                  <c:v>59.9036797219527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7</c:v>
                </c:pt>
                <c:pt idx="43">
                  <c:v>7</c:v>
                </c:pt>
                <c:pt idx="44">
                  <c:v>7</c:v>
                </c:pt>
                <c:pt idx="45">
                  <c:v>8</c:v>
                </c:pt>
                <c:pt idx="46">
                  <c:v>8</c:v>
                </c:pt>
                <c:pt idx="47">
                  <c:v>9</c:v>
                </c:pt>
                <c:pt idx="48">
                  <c:v>11</c:v>
                </c:pt>
                <c:pt idx="49">
                  <c:v>11</c:v>
                </c:pt>
                <c:pt idx="50">
                  <c:v>11</c:v>
                </c:pt>
                <c:pt idx="51">
                  <c:v>12</c:v>
                </c:pt>
                <c:pt idx="52">
                  <c:v>13</c:v>
                </c:pt>
                <c:pt idx="53">
                  <c:v>13</c:v>
                </c:pt>
                <c:pt idx="54">
                  <c:v>14</c:v>
                </c:pt>
                <c:pt idx="55">
                  <c:v>14</c:v>
                </c:pt>
                <c:pt idx="56">
                  <c:v>15</c:v>
                </c:pt>
                <c:pt idx="57">
                  <c:v>16</c:v>
                </c:pt>
                <c:pt idx="58">
                  <c:v>16</c:v>
                </c:pt>
                <c:pt idx="59">
                  <c:v>19</c:v>
                </c:pt>
                <c:pt idx="60">
                  <c:v>21</c:v>
                </c:pt>
                <c:pt idx="61">
                  <c:v>26</c:v>
                </c:pt>
                <c:pt idx="62">
                  <c:v>31</c:v>
                </c:pt>
                <c:pt idx="63">
                  <c:v>32</c:v>
                </c:pt>
                <c:pt idx="64">
                  <c:v>36</c:v>
                </c:pt>
                <c:pt idx="65">
                  <c:v>38</c:v>
                </c:pt>
                <c:pt idx="66">
                  <c:v>40</c:v>
                </c:pt>
                <c:pt idx="67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1.268628724077459</c:v>
                </c:pt>
                <c:pt idx="50">
                  <c:v>11.53750940556238</c:v>
                </c:pt>
                <c:pt idx="51">
                  <c:v>11.806556135598571</c:v>
                </c:pt>
                <c:pt idx="52">
                  <c:v>12.075729267689089</c:v>
                </c:pt>
                <c:pt idx="53">
                  <c:v>12.344991163674768</c:v>
                </c:pt>
                <c:pt idx="54">
                  <c:v>12.614310468613246</c:v>
                </c:pt>
                <c:pt idx="55">
                  <c:v>12.88368001410322</c:v>
                </c:pt>
                <c:pt idx="56">
                  <c:v>13.153088040916465</c:v>
                </c:pt>
                <c:pt idx="57">
                  <c:v>13.42253151908611</c:v>
                </c:pt>
                <c:pt idx="58">
                  <c:v>13.692009587505121</c:v>
                </c:pt>
                <c:pt idx="59">
                  <c:v>13.961514028834223</c:v>
                </c:pt>
                <c:pt idx="60">
                  <c:v>14.231041072805846</c:v>
                </c:pt>
                <c:pt idx="61">
                  <c:v>14.500589216193255</c:v>
                </c:pt>
                <c:pt idx="62">
                  <c:v>14.77014916281628</c:v>
                </c:pt>
                <c:pt idx="63">
                  <c:v>15.039721349514219</c:v>
                </c:pt>
                <c:pt idx="64">
                  <c:v>15.30930288903509</c:v>
                </c:pt>
                <c:pt idx="65">
                  <c:v>15.578892471813084</c:v>
                </c:pt>
                <c:pt idx="66">
                  <c:v>15.848482054590852</c:v>
                </c:pt>
                <c:pt idx="67">
                  <c:v>16.118071637368846</c:v>
                </c:pt>
                <c:pt idx="68">
                  <c:v>16.387661220146615</c:v>
                </c:pt>
                <c:pt idx="69">
                  <c:v>16.657250802924608</c:v>
                </c:pt>
                <c:pt idx="70">
                  <c:v>16.926840385702377</c:v>
                </c:pt>
                <c:pt idx="71">
                  <c:v>17.19642996848037</c:v>
                </c:pt>
                <c:pt idx="72">
                  <c:v>17.466019551258139</c:v>
                </c:pt>
                <c:pt idx="73">
                  <c:v>17.735609134036132</c:v>
                </c:pt>
                <c:pt idx="74">
                  <c:v>18.005198716813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1.315933092533861</c:v>
                </c:pt>
                <c:pt idx="50">
                  <c:v>11.6381516442415</c:v>
                </c:pt>
                <c:pt idx="51">
                  <c:v>11.966728200332108</c:v>
                </c:pt>
                <c:pt idx="52">
                  <c:v>12.30173830218787</c:v>
                </c:pt>
                <c:pt idx="53">
                  <c:v>12.643271438541726</c:v>
                </c:pt>
                <c:pt idx="54">
                  <c:v>12.991422019427873</c:v>
                </c:pt>
                <c:pt idx="55">
                  <c:v>13.346288219540273</c:v>
                </c:pt>
                <c:pt idx="56">
                  <c:v>13.707968552629863</c:v>
                </c:pt>
                <c:pt idx="57">
                  <c:v>14.076556241772376</c:v>
                </c:pt>
                <c:pt idx="58">
                  <c:v>14.452145806559479</c:v>
                </c:pt>
                <c:pt idx="59">
                  <c:v>14.834831996122382</c:v>
                </c:pt>
                <c:pt idx="60">
                  <c:v>15.224704819180847</c:v>
                </c:pt>
                <c:pt idx="61">
                  <c:v>15.621855973148817</c:v>
                </c:pt>
                <c:pt idx="62">
                  <c:v>16.026376673067663</c:v>
                </c:pt>
                <c:pt idx="63">
                  <c:v>16.43835693099965</c:v>
                </c:pt>
                <c:pt idx="64">
                  <c:v>16.857881960721084</c:v>
                </c:pt>
                <c:pt idx="65">
                  <c:v>17.285037026722392</c:v>
                </c:pt>
                <c:pt idx="66">
                  <c:v>17.719906511007405</c:v>
                </c:pt>
                <c:pt idx="67">
                  <c:v>18.162573436419546</c:v>
                </c:pt>
                <c:pt idx="68">
                  <c:v>18.613119201334751</c:v>
                </c:pt>
                <c:pt idx="69">
                  <c:v>19.071630257734071</c:v>
                </c:pt>
                <c:pt idx="70">
                  <c:v>19.538196457135761</c:v>
                </c:pt>
                <c:pt idx="71">
                  <c:v>20.012909793961153</c:v>
                </c:pt>
                <c:pt idx="72">
                  <c:v>20.495863820806413</c:v>
                </c:pt>
                <c:pt idx="73">
                  <c:v>20.987153383348129</c:v>
                </c:pt>
                <c:pt idx="74">
                  <c:v>21.4868746152905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1.380482327396912</c:v>
                </c:pt>
                <c:pt idx="50">
                  <c:v>11.775825030706315</c:v>
                </c:pt>
                <c:pt idx="51">
                  <c:v>12.186551262589218</c:v>
                </c:pt>
                <c:pt idx="52">
                  <c:v>12.613197834775175</c:v>
                </c:pt>
                <c:pt idx="53">
                  <c:v>13.056323280345667</c:v>
                </c:pt>
                <c:pt idx="54">
                  <c:v>13.516507778856313</c:v>
                </c:pt>
                <c:pt idx="55">
                  <c:v>13.99434577157893</c:v>
                </c:pt>
                <c:pt idx="56">
                  <c:v>14.490445943966098</c:v>
                </c:pt>
                <c:pt idx="57">
                  <c:v>15.005431982126131</c:v>
                </c:pt>
                <c:pt idx="58">
                  <c:v>15.539943672666366</c:v>
                </c:pt>
                <c:pt idx="59">
                  <c:v>16.094637487314845</c:v>
                </c:pt>
                <c:pt idx="60">
                  <c:v>16.670187439072528</c:v>
                </c:pt>
                <c:pt idx="61">
                  <c:v>17.267284713845289</c:v>
                </c:pt>
                <c:pt idx="62">
                  <c:v>17.88663620540499</c:v>
                </c:pt>
                <c:pt idx="63">
                  <c:v>18.52896433757747</c:v>
                </c:pt>
                <c:pt idx="64">
                  <c:v>19.195007053795308</c:v>
                </c:pt>
                <c:pt idx="65">
                  <c:v>19.88551790277084</c:v>
                </c:pt>
                <c:pt idx="66">
                  <c:v>20.601265823478506</c:v>
                </c:pt>
                <c:pt idx="67">
                  <c:v>21.343034871773781</c:v>
                </c:pt>
                <c:pt idx="68">
                  <c:v>22.11162388073728</c:v>
                </c:pt>
                <c:pt idx="69">
                  <c:v>22.90785955514999</c:v>
                </c:pt>
                <c:pt idx="70">
                  <c:v>23.732593474198925</c:v>
                </c:pt>
                <c:pt idx="71">
                  <c:v>24.586699889438393</c:v>
                </c:pt>
                <c:pt idx="72">
                  <c:v>25.471074739848614</c:v>
                </c:pt>
                <c:pt idx="73">
                  <c:v>26.38663521249287</c:v>
                </c:pt>
                <c:pt idx="74">
                  <c:v>27.334319715293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1.931242431970585</c:v>
                </c:pt>
                <c:pt idx="50">
                  <c:v>12.944447649537175</c:v>
                </c:pt>
                <c:pt idx="51">
                  <c:v>14.077377575887182</c:v>
                </c:pt>
                <c:pt idx="52">
                  <c:v>15.327637612559776</c:v>
                </c:pt>
                <c:pt idx="53">
                  <c:v>16.671550270964001</c:v>
                </c:pt>
                <c:pt idx="54">
                  <c:v>18.108087894955247</c:v>
                </c:pt>
                <c:pt idx="55">
                  <c:v>19.690390262493871</c:v>
                </c:pt>
                <c:pt idx="56">
                  <c:v>21.408161507484941</c:v>
                </c:pt>
                <c:pt idx="57">
                  <c:v>23.275006689382529</c:v>
                </c:pt>
                <c:pt idx="58">
                  <c:v>25.324344949937633</c:v>
                </c:pt>
                <c:pt idx="59">
                  <c:v>27.548607084693746</c:v>
                </c:pt>
                <c:pt idx="60">
                  <c:v>29.940069630468056</c:v>
                </c:pt>
                <c:pt idx="61">
                  <c:v>32.53205650627082</c:v>
                </c:pt>
                <c:pt idx="62">
                  <c:v>35.311166191975943</c:v>
                </c:pt>
                <c:pt idx="63">
                  <c:v>38.258458720323986</c:v>
                </c:pt>
                <c:pt idx="64">
                  <c:v>41.35803084175555</c:v>
                </c:pt>
                <c:pt idx="65">
                  <c:v>44.604677184532306</c:v>
                </c:pt>
                <c:pt idx="66">
                  <c:v>47.990100149238792</c:v>
                </c:pt>
                <c:pt idx="67">
                  <c:v>51.506647472277798</c:v>
                </c:pt>
                <c:pt idx="68">
                  <c:v>55.150093163517163</c:v>
                </c:pt>
                <c:pt idx="69">
                  <c:v>58.915633676995618</c:v>
                </c:pt>
                <c:pt idx="70">
                  <c:v>62.797464134426363</c:v>
                </c:pt>
                <c:pt idx="71">
                  <c:v>66.790319913265861</c:v>
                </c:pt>
                <c:pt idx="72">
                  <c:v>70.888975414461186</c:v>
                </c:pt>
                <c:pt idx="73">
                  <c:v>75.086835143959505</c:v>
                </c:pt>
                <c:pt idx="74">
                  <c:v>79.3796426493038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3</c:v>
                </c:pt>
                <c:pt idx="42">
                  <c:v>3</c:v>
                </c:pt>
                <c:pt idx="43">
                  <c:v>4</c:v>
                </c:pt>
                <c:pt idx="44">
                  <c:v>5</c:v>
                </c:pt>
                <c:pt idx="45">
                  <c:v>5</c:v>
                </c:pt>
                <c:pt idx="46">
                  <c:v>5</c:v>
                </c:pt>
                <c:pt idx="47">
                  <c:v>6</c:v>
                </c:pt>
                <c:pt idx="48">
                  <c:v>8</c:v>
                </c:pt>
                <c:pt idx="49">
                  <c:v>9</c:v>
                </c:pt>
                <c:pt idx="50">
                  <c:v>9</c:v>
                </c:pt>
                <c:pt idx="51">
                  <c:v>10</c:v>
                </c:pt>
                <c:pt idx="52">
                  <c:v>10</c:v>
                </c:pt>
                <c:pt idx="53">
                  <c:v>10</c:v>
                </c:pt>
                <c:pt idx="54">
                  <c:v>10</c:v>
                </c:pt>
                <c:pt idx="55">
                  <c:v>12</c:v>
                </c:pt>
                <c:pt idx="56">
                  <c:v>14</c:v>
                </c:pt>
                <c:pt idx="57">
                  <c:v>14</c:v>
                </c:pt>
                <c:pt idx="58">
                  <c:v>15</c:v>
                </c:pt>
                <c:pt idx="59">
                  <c:v>16</c:v>
                </c:pt>
                <c:pt idx="60">
                  <c:v>16</c:v>
                </c:pt>
                <c:pt idx="61">
                  <c:v>16</c:v>
                </c:pt>
                <c:pt idx="62">
                  <c:v>16</c:v>
                </c:pt>
                <c:pt idx="63">
                  <c:v>16</c:v>
                </c:pt>
                <c:pt idx="64">
                  <c:v>18</c:v>
                </c:pt>
                <c:pt idx="65">
                  <c:v>20</c:v>
                </c:pt>
                <c:pt idx="66">
                  <c:v>21</c:v>
                </c:pt>
                <c:pt idx="67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8.2471384261512615</c:v>
                </c:pt>
                <c:pt idx="50">
                  <c:v>8.4945086531173892</c:v>
                </c:pt>
                <c:pt idx="51">
                  <c:v>8.7420316447506856</c:v>
                </c:pt>
                <c:pt idx="52">
                  <c:v>8.9896709262739627</c:v>
                </c:pt>
                <c:pt idx="53">
                  <c:v>9.2373918705807867</c:v>
                </c:pt>
                <c:pt idx="54">
                  <c:v>9.4851656311241861</c:v>
                </c:pt>
                <c:pt idx="55">
                  <c:v>9.7329856129749626</c:v>
                </c:pt>
                <c:pt idx="56">
                  <c:v>9.9808409976431491</c:v>
                </c:pt>
                <c:pt idx="57">
                  <c:v>10.228728997559223</c:v>
                </c:pt>
                <c:pt idx="58">
                  <c:v>10.476648820504714</c:v>
                </c:pt>
                <c:pt idx="59">
                  <c:v>10.724592906527489</c:v>
                </c:pt>
                <c:pt idx="60">
                  <c:v>10.972557786981383</c:v>
                </c:pt>
                <c:pt idx="61">
                  <c:v>11.2205420788978</c:v>
                </c:pt>
                <c:pt idx="62">
                  <c:v>11.468537229790982</c:v>
                </c:pt>
                <c:pt idx="63">
                  <c:v>11.716543641553086</c:v>
                </c:pt>
                <c:pt idx="64">
                  <c:v>11.964558657912287</c:v>
                </c:pt>
                <c:pt idx="65">
                  <c:v>12.212581074068041</c:v>
                </c:pt>
                <c:pt idx="66">
                  <c:v>12.460603490223587</c:v>
                </c:pt>
                <c:pt idx="67">
                  <c:v>12.708625906379341</c:v>
                </c:pt>
                <c:pt idx="68">
                  <c:v>12.956648322534887</c:v>
                </c:pt>
                <c:pt idx="69">
                  <c:v>13.204670738690641</c:v>
                </c:pt>
                <c:pt idx="70">
                  <c:v>13.452693154846187</c:v>
                </c:pt>
                <c:pt idx="71">
                  <c:v>13.700715571001941</c:v>
                </c:pt>
                <c:pt idx="72">
                  <c:v>13.948737987157488</c:v>
                </c:pt>
                <c:pt idx="73">
                  <c:v>14.196760403313242</c:v>
                </c:pt>
                <c:pt idx="74">
                  <c:v>14.444782819468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8.290658445131152</c:v>
                </c:pt>
                <c:pt idx="50">
                  <c:v>8.5870995127021796</c:v>
                </c:pt>
                <c:pt idx="51">
                  <c:v>8.8893899443055382</c:v>
                </c:pt>
                <c:pt idx="52">
                  <c:v>9.1975992380128382</c:v>
                </c:pt>
                <c:pt idx="53">
                  <c:v>9.511809723458386</c:v>
                </c:pt>
                <c:pt idx="54">
                  <c:v>9.8321082578736405</c:v>
                </c:pt>
                <c:pt idx="55">
                  <c:v>10.158585161977049</c:v>
                </c:pt>
                <c:pt idx="56">
                  <c:v>10.491331068419472</c:v>
                </c:pt>
                <c:pt idx="57">
                  <c:v>10.830431742430584</c:v>
                </c:pt>
                <c:pt idx="58">
                  <c:v>11.175974142034717</c:v>
                </c:pt>
                <c:pt idx="59">
                  <c:v>11.528045436432588</c:v>
                </c:pt>
                <c:pt idx="60">
                  <c:v>11.886728433646375</c:v>
                </c:pt>
                <c:pt idx="61">
                  <c:v>12.252107495296908</c:v>
                </c:pt>
                <c:pt idx="62">
                  <c:v>12.624266539222246</c:v>
                </c:pt>
                <c:pt idx="63">
                  <c:v>13.003288376519675</c:v>
                </c:pt>
                <c:pt idx="64">
                  <c:v>13.389251403863394</c:v>
                </c:pt>
                <c:pt idx="65">
                  <c:v>13.782234064584596</c:v>
                </c:pt>
                <c:pt idx="66">
                  <c:v>14.182313990126808</c:v>
                </c:pt>
                <c:pt idx="67">
                  <c:v>14.589567561505977</c:v>
                </c:pt>
                <c:pt idx="68">
                  <c:v>15.004069665227966</c:v>
                </c:pt>
                <c:pt idx="69">
                  <c:v>15.42589983711534</c:v>
                </c:pt>
                <c:pt idx="70">
                  <c:v>15.855140740564893</c:v>
                </c:pt>
                <c:pt idx="71">
                  <c:v>16.291877010444257</c:v>
                </c:pt>
                <c:pt idx="72">
                  <c:v>16.736194715141895</c:v>
                </c:pt>
                <c:pt idx="73">
                  <c:v>17.188181112680272</c:v>
                </c:pt>
                <c:pt idx="74">
                  <c:v>17.647924646067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8.3500437412051589</c:v>
                </c:pt>
                <c:pt idx="50">
                  <c:v>8.7137590282498092</c:v>
                </c:pt>
                <c:pt idx="51">
                  <c:v>9.0916271615820801</c:v>
                </c:pt>
                <c:pt idx="52">
                  <c:v>9.4841420079931602</c:v>
                </c:pt>
                <c:pt idx="53">
                  <c:v>9.8918174179180145</c:v>
                </c:pt>
                <c:pt idx="54">
                  <c:v>10.315187156547807</c:v>
                </c:pt>
                <c:pt idx="55">
                  <c:v>10.754798109852613</c:v>
                </c:pt>
                <c:pt idx="56">
                  <c:v>11.211210268448808</c:v>
                </c:pt>
                <c:pt idx="57">
                  <c:v>11.684997423556039</c:v>
                </c:pt>
                <c:pt idx="58">
                  <c:v>12.176748178853057</c:v>
                </c:pt>
                <c:pt idx="59">
                  <c:v>12.687066488329657</c:v>
                </c:pt>
                <c:pt idx="60">
                  <c:v>13.216572443946724</c:v>
                </c:pt>
                <c:pt idx="61">
                  <c:v>13.765901936737663</c:v>
                </c:pt>
                <c:pt idx="62">
                  <c:v>14.335705308972587</c:v>
                </c:pt>
                <c:pt idx="63">
                  <c:v>14.926647190571268</c:v>
                </c:pt>
                <c:pt idx="64">
                  <c:v>15.539406489491681</c:v>
                </c:pt>
                <c:pt idx="65">
                  <c:v>16.174676470549169</c:v>
                </c:pt>
                <c:pt idx="66">
                  <c:v>16.833164557600224</c:v>
                </c:pt>
                <c:pt idx="67">
                  <c:v>17.515592082031876</c:v>
                </c:pt>
                <c:pt idx="68">
                  <c:v>18.222693970278296</c:v>
                </c:pt>
                <c:pt idx="69">
                  <c:v>18.955230790737989</c:v>
                </c:pt>
                <c:pt idx="70">
                  <c:v>19.713985996263009</c:v>
                </c:pt>
                <c:pt idx="71">
                  <c:v>20.499763898283319</c:v>
                </c:pt>
                <c:pt idx="72">
                  <c:v>21.313388760660722</c:v>
                </c:pt>
                <c:pt idx="73">
                  <c:v>22.155704395493434</c:v>
                </c:pt>
                <c:pt idx="74">
                  <c:v>23.027574138069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8.8461478152076101</c:v>
                </c:pt>
                <c:pt idx="50">
                  <c:v>9.7680984544821357</c:v>
                </c:pt>
                <c:pt idx="51">
                  <c:v>10.798834324978086</c:v>
                </c:pt>
                <c:pt idx="52">
                  <c:v>11.935406368288978</c:v>
                </c:pt>
                <c:pt idx="53">
                  <c:v>13.156910467955994</c:v>
                </c:pt>
                <c:pt idx="54">
                  <c:v>14.464779813386214</c:v>
                </c:pt>
                <c:pt idx="55">
                  <c:v>15.905947703491142</c:v>
                </c:pt>
                <c:pt idx="56">
                  <c:v>17.471131290859731</c:v>
                </c:pt>
                <c:pt idx="57">
                  <c:v>19.172466839754129</c:v>
                </c:pt>
                <c:pt idx="58">
                  <c:v>21.038878285589778</c:v>
                </c:pt>
                <c:pt idx="59">
                  <c:v>23.064228317433059</c:v>
                </c:pt>
                <c:pt idx="60">
                  <c:v>25.243007830507036</c:v>
                </c:pt>
                <c:pt idx="61">
                  <c:v>27.604757956556789</c:v>
                </c:pt>
                <c:pt idx="62">
                  <c:v>30.136487295908225</c:v>
                </c:pt>
                <c:pt idx="63">
                  <c:v>32.821172916372028</c:v>
                </c:pt>
                <c:pt idx="64">
                  <c:v>35.644129772728633</c:v>
                </c:pt>
                <c:pt idx="65">
                  <c:v>38.60028072560786</c:v>
                </c:pt>
                <c:pt idx="66">
                  <c:v>41.681894614609959</c:v>
                </c:pt>
                <c:pt idx="67">
                  <c:v>44.882105626849146</c:v>
                </c:pt>
                <c:pt idx="68">
                  <c:v>48.197573782897543</c:v>
                </c:pt>
                <c:pt idx="69">
                  <c:v>51.62361199858664</c:v>
                </c:pt>
                <c:pt idx="70">
                  <c:v>55.154635878144504</c:v>
                </c:pt>
                <c:pt idx="71">
                  <c:v>58.785884198522481</c:v>
                </c:pt>
                <c:pt idx="72">
                  <c:v>62.512567689920928</c:v>
                </c:pt>
                <c:pt idx="73">
                  <c:v>66.328805846226984</c:v>
                </c:pt>
                <c:pt idx="74">
                  <c:v>70.2307766474644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8</c:v>
                </c:pt>
                <c:pt idx="42">
                  <c:v>9</c:v>
                </c:pt>
                <c:pt idx="43">
                  <c:v>9</c:v>
                </c:pt>
                <c:pt idx="44">
                  <c:v>9</c:v>
                </c:pt>
                <c:pt idx="45">
                  <c:v>9</c:v>
                </c:pt>
                <c:pt idx="46">
                  <c:v>9</c:v>
                </c:pt>
                <c:pt idx="47">
                  <c:v>9</c:v>
                </c:pt>
                <c:pt idx="48">
                  <c:v>9</c:v>
                </c:pt>
                <c:pt idx="49">
                  <c:v>9</c:v>
                </c:pt>
                <c:pt idx="50">
                  <c:v>10</c:v>
                </c:pt>
                <c:pt idx="51">
                  <c:v>10</c:v>
                </c:pt>
                <c:pt idx="52">
                  <c:v>10</c:v>
                </c:pt>
                <c:pt idx="53">
                  <c:v>11</c:v>
                </c:pt>
                <c:pt idx="54">
                  <c:v>11</c:v>
                </c:pt>
                <c:pt idx="55">
                  <c:v>12</c:v>
                </c:pt>
                <c:pt idx="56">
                  <c:v>14</c:v>
                </c:pt>
                <c:pt idx="57">
                  <c:v>14</c:v>
                </c:pt>
                <c:pt idx="58">
                  <c:v>15</c:v>
                </c:pt>
                <c:pt idx="59">
                  <c:v>15</c:v>
                </c:pt>
                <c:pt idx="60">
                  <c:v>15</c:v>
                </c:pt>
                <c:pt idx="61">
                  <c:v>17</c:v>
                </c:pt>
                <c:pt idx="62">
                  <c:v>17</c:v>
                </c:pt>
                <c:pt idx="63">
                  <c:v>18</c:v>
                </c:pt>
                <c:pt idx="64">
                  <c:v>18</c:v>
                </c:pt>
                <c:pt idx="65">
                  <c:v>20</c:v>
                </c:pt>
                <c:pt idx="66">
                  <c:v>20</c:v>
                </c:pt>
                <c:pt idx="67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4</c:v>
                </c:pt>
                <c:pt idx="11">
                  <c:v>4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9</c:v>
                </c:pt>
                <c:pt idx="17">
                  <c:v>10</c:v>
                </c:pt>
                <c:pt idx="18">
                  <c:v>11</c:v>
                </c:pt>
                <c:pt idx="19">
                  <c:v>11</c:v>
                </c:pt>
                <c:pt idx="20">
                  <c:v>11</c:v>
                </c:pt>
                <c:pt idx="21">
                  <c:v>11</c:v>
                </c:pt>
                <c:pt idx="22">
                  <c:v>12</c:v>
                </c:pt>
                <c:pt idx="23">
                  <c:v>12</c:v>
                </c:pt>
                <c:pt idx="24">
                  <c:v>13</c:v>
                </c:pt>
                <c:pt idx="25">
                  <c:v>13</c:v>
                </c:pt>
                <c:pt idx="26">
                  <c:v>14</c:v>
                </c:pt>
                <c:pt idx="27">
                  <c:v>15</c:v>
                </c:pt>
                <c:pt idx="28">
                  <c:v>16</c:v>
                </c:pt>
                <c:pt idx="29">
                  <c:v>17</c:v>
                </c:pt>
                <c:pt idx="30">
                  <c:v>19</c:v>
                </c:pt>
                <c:pt idx="31">
                  <c:v>19</c:v>
                </c:pt>
                <c:pt idx="32">
                  <c:v>19</c:v>
                </c:pt>
                <c:pt idx="33">
                  <c:v>20</c:v>
                </c:pt>
                <c:pt idx="34">
                  <c:v>24</c:v>
                </c:pt>
                <c:pt idx="35">
                  <c:v>28</c:v>
                </c:pt>
                <c:pt idx="36">
                  <c:v>29</c:v>
                </c:pt>
                <c:pt idx="37">
                  <c:v>30</c:v>
                </c:pt>
                <c:pt idx="38">
                  <c:v>32</c:v>
                </c:pt>
                <c:pt idx="39">
                  <c:v>34</c:v>
                </c:pt>
                <c:pt idx="40">
                  <c:v>38</c:v>
                </c:pt>
                <c:pt idx="41">
                  <c:v>42</c:v>
                </c:pt>
                <c:pt idx="42">
                  <c:v>42</c:v>
                </c:pt>
                <c:pt idx="43">
                  <c:v>43</c:v>
                </c:pt>
                <c:pt idx="44">
                  <c:v>45</c:v>
                </c:pt>
                <c:pt idx="45">
                  <c:v>46</c:v>
                </c:pt>
                <c:pt idx="46">
                  <c:v>50</c:v>
                </c:pt>
                <c:pt idx="47">
                  <c:v>56</c:v>
                </c:pt>
                <c:pt idx="48">
                  <c:v>62</c:v>
                </c:pt>
                <c:pt idx="49">
                  <c:v>63</c:v>
                </c:pt>
                <c:pt idx="50">
                  <c:v>66</c:v>
                </c:pt>
                <c:pt idx="51">
                  <c:v>68</c:v>
                </c:pt>
                <c:pt idx="52">
                  <c:v>73</c:v>
                </c:pt>
                <c:pt idx="53">
                  <c:v>76</c:v>
                </c:pt>
                <c:pt idx="54">
                  <c:v>83</c:v>
                </c:pt>
                <c:pt idx="55">
                  <c:v>88</c:v>
                </c:pt>
                <c:pt idx="56">
                  <c:v>94</c:v>
                </c:pt>
                <c:pt idx="57">
                  <c:v>100</c:v>
                </c:pt>
                <c:pt idx="58">
                  <c:v>113</c:v>
                </c:pt>
                <c:pt idx="59">
                  <c:v>122</c:v>
                </c:pt>
                <c:pt idx="60">
                  <c:v>129</c:v>
                </c:pt>
                <c:pt idx="61">
                  <c:v>137</c:v>
                </c:pt>
                <c:pt idx="62">
                  <c:v>151</c:v>
                </c:pt>
                <c:pt idx="63">
                  <c:v>161</c:v>
                </c:pt>
                <c:pt idx="64">
                  <c:v>171</c:v>
                </c:pt>
                <c:pt idx="65">
                  <c:v>179</c:v>
                </c:pt>
                <c:pt idx="66">
                  <c:v>189</c:v>
                </c:pt>
                <c:pt idx="67">
                  <c:v>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3.386124216239686</c:v>
                </c:pt>
                <c:pt idx="50">
                  <c:v>64.773548532701881</c:v>
                </c:pt>
                <c:pt idx="51">
                  <c:v>66.161829659688621</c:v>
                </c:pt>
                <c:pt idx="52">
                  <c:v>67.550763021275699</c:v>
                </c:pt>
                <c:pt idx="53">
                  <c:v>68.940154404561795</c:v>
                </c:pt>
                <c:pt idx="54">
                  <c:v>70.329842018044332</c:v>
                </c:pt>
                <c:pt idx="55">
                  <c:v>71.719788872772597</c:v>
                </c:pt>
                <c:pt idx="56">
                  <c:v>73.109934291128937</c:v>
                </c:pt>
                <c:pt idx="57">
                  <c:v>74.500262638484301</c:v>
                </c:pt>
                <c:pt idx="58">
                  <c:v>75.890769471526397</c:v>
                </c:pt>
                <c:pt idx="59">
                  <c:v>77.28141238878456</c:v>
                </c:pt>
                <c:pt idx="60">
                  <c:v>78.672171935678136</c:v>
                </c:pt>
                <c:pt idx="61">
                  <c:v>80.063040355557163</c:v>
                </c:pt>
                <c:pt idx="62">
                  <c:v>81.453969680131962</c:v>
                </c:pt>
                <c:pt idx="63">
                  <c:v>82.844962163493335</c:v>
                </c:pt>
                <c:pt idx="64">
                  <c:v>84.236002907421025</c:v>
                </c:pt>
                <c:pt idx="65">
                  <c:v>85.627085154555473</c:v>
                </c:pt>
                <c:pt idx="66">
                  <c:v>87.018167401688757</c:v>
                </c:pt>
                <c:pt idx="67">
                  <c:v>88.409249648823206</c:v>
                </c:pt>
                <c:pt idx="68">
                  <c:v>89.800331895956489</c:v>
                </c:pt>
                <c:pt idx="69">
                  <c:v>91.191414143090938</c:v>
                </c:pt>
                <c:pt idx="70">
                  <c:v>92.582496390224222</c:v>
                </c:pt>
                <c:pt idx="71">
                  <c:v>93.973578637358671</c:v>
                </c:pt>
                <c:pt idx="72">
                  <c:v>95.364660884491954</c:v>
                </c:pt>
                <c:pt idx="73">
                  <c:v>96.755743131626403</c:v>
                </c:pt>
                <c:pt idx="74">
                  <c:v>98.1468253787596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63.630214757474725</c:v>
                </c:pt>
                <c:pt idx="50">
                  <c:v>65.292862484286132</c:v>
                </c:pt>
                <c:pt idx="51">
                  <c:v>66.988317513713667</c:v>
                </c:pt>
                <c:pt idx="52">
                  <c:v>68.716969639289402</c:v>
                </c:pt>
                <c:pt idx="53">
                  <c:v>70.479280622875308</c:v>
                </c:pt>
                <c:pt idx="54">
                  <c:v>72.275737620247824</c:v>
                </c:pt>
                <c:pt idx="55">
                  <c:v>74.106847212827816</c:v>
                </c:pt>
                <c:pt idx="56">
                  <c:v>75.973117731570099</c:v>
                </c:pt>
                <c:pt idx="57">
                  <c:v>77.875030207545464</c:v>
                </c:pt>
                <c:pt idx="58">
                  <c:v>79.813072361846906</c:v>
                </c:pt>
                <c:pt idx="59">
                  <c:v>81.787733099991485</c:v>
                </c:pt>
                <c:pt idx="60">
                  <c:v>83.799476866973166</c:v>
                </c:pt>
                <c:pt idx="61">
                  <c:v>85.848776821447885</c:v>
                </c:pt>
                <c:pt idx="62">
                  <c:v>87.936103633029134</c:v>
                </c:pt>
                <c:pt idx="63">
                  <c:v>90.061921763958196</c:v>
                </c:pt>
                <c:pt idx="64">
                  <c:v>92.226670917320789</c:v>
                </c:pt>
                <c:pt idx="65">
                  <c:v>94.430791057887532</c:v>
                </c:pt>
                <c:pt idx="66">
                  <c:v>96.674717596798189</c:v>
                </c:pt>
                <c:pt idx="67">
                  <c:v>98.958878931924829</c:v>
                </c:pt>
                <c:pt idx="68">
                  <c:v>101.28369507888729</c:v>
                </c:pt>
                <c:pt idx="69">
                  <c:v>103.64961212990778</c:v>
                </c:pt>
                <c:pt idx="70">
                  <c:v>106.0570937188205</c:v>
                </c:pt>
                <c:pt idx="71">
                  <c:v>108.50661453683952</c:v>
                </c:pt>
                <c:pt idx="72">
                  <c:v>110.99865731536106</c:v>
                </c:pt>
                <c:pt idx="73">
                  <c:v>113.53371145807631</c:v>
                </c:pt>
                <c:pt idx="74">
                  <c:v>116.112273014899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63.963288809368066</c:v>
                </c:pt>
                <c:pt idx="50">
                  <c:v>66.003257158444583</c:v>
                </c:pt>
                <c:pt idx="51">
                  <c:v>68.122604514960358</c:v>
                </c:pt>
                <c:pt idx="52">
                  <c:v>70.324100827439892</c:v>
                </c:pt>
                <c:pt idx="53">
                  <c:v>72.610628126583634</c:v>
                </c:pt>
                <c:pt idx="54">
                  <c:v>74.985180138898571</c:v>
                </c:pt>
                <c:pt idx="55">
                  <c:v>77.450824181347272</c:v>
                </c:pt>
                <c:pt idx="56">
                  <c:v>80.010701070865053</c:v>
                </c:pt>
                <c:pt idx="57">
                  <c:v>82.668029027770828</c:v>
                </c:pt>
                <c:pt idx="58">
                  <c:v>85.426109350958441</c:v>
                </c:pt>
                <c:pt idx="59">
                  <c:v>88.288329434544593</c:v>
                </c:pt>
                <c:pt idx="60">
                  <c:v>91.258167185614226</c:v>
                </c:pt>
                <c:pt idx="61">
                  <c:v>94.33918912344167</c:v>
                </c:pt>
                <c:pt idx="62">
                  <c:v>97.535042819889725</c:v>
                </c:pt>
                <c:pt idx="63">
                  <c:v>100.84945598189972</c:v>
                </c:pt>
                <c:pt idx="64">
                  <c:v>104.28623639758378</c:v>
                </c:pt>
                <c:pt idx="65">
                  <c:v>107.84927237829751</c:v>
                </c:pt>
                <c:pt idx="66">
                  <c:v>111.54253164914908</c:v>
                </c:pt>
                <c:pt idx="67">
                  <c:v>115.3700599383527</c:v>
                </c:pt>
                <c:pt idx="68">
                  <c:v>119.33597922460436</c:v>
                </c:pt>
                <c:pt idx="69">
                  <c:v>123.44455530457394</c:v>
                </c:pt>
                <c:pt idx="70">
                  <c:v>127.70018232686644</c:v>
                </c:pt>
                <c:pt idx="71">
                  <c:v>132.10737142950211</c:v>
                </c:pt>
                <c:pt idx="72">
                  <c:v>136.67074565761885</c:v>
                </c:pt>
                <c:pt idx="73">
                  <c:v>141.39503769646319</c:v>
                </c:pt>
                <c:pt idx="74">
                  <c:v>146.285089730911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66.382085623478062</c:v>
                </c:pt>
                <c:pt idx="50">
                  <c:v>71.202956056515816</c:v>
                </c:pt>
                <c:pt idx="51">
                  <c:v>76.587233791268403</c:v>
                </c:pt>
                <c:pt idx="52">
                  <c:v>82.492769717604332</c:v>
                </c:pt>
                <c:pt idx="53">
                  <c:v>88.832498195347227</c:v>
                </c:pt>
                <c:pt idx="54">
                  <c:v>95.696108380998311</c:v>
                </c:pt>
                <c:pt idx="55">
                  <c:v>103.27971580453332</c:v>
                </c:pt>
                <c:pt idx="56">
                  <c:v>111.53775555666414</c:v>
                </c:pt>
                <c:pt idx="57">
                  <c:v>120.52523866806813</c:v>
                </c:pt>
                <c:pt idx="58">
                  <c:v>130.34185843778067</c:v>
                </c:pt>
                <c:pt idx="59">
                  <c:v>140.9815587440952</c:v>
                </c:pt>
                <c:pt idx="60">
                  <c:v>152.46824277224141</c:v>
                </c:pt>
                <c:pt idx="61">
                  <c:v>164.92925905090866</c:v>
                </c:pt>
                <c:pt idx="62">
                  <c:v>178.26901839967522</c:v>
                </c:pt>
                <c:pt idx="63">
                  <c:v>192.40583817004463</c:v>
                </c:pt>
                <c:pt idx="64">
                  <c:v>207.25549885675369</c:v>
                </c:pt>
                <c:pt idx="65">
                  <c:v>222.77963144017411</c:v>
                </c:pt>
                <c:pt idx="66">
                  <c:v>238.93153183168863</c:v>
                </c:pt>
                <c:pt idx="67">
                  <c:v>255.67867389287966</c:v>
                </c:pt>
                <c:pt idx="68">
                  <c:v>273.02113342399502</c:v>
                </c:pt>
                <c:pt idx="69">
                  <c:v>290.92342853134005</c:v>
                </c:pt>
                <c:pt idx="70">
                  <c:v>309.34586546901522</c:v>
                </c:pt>
                <c:pt idx="71">
                  <c:v>328.2645626672109</c:v>
                </c:pt>
                <c:pt idx="72">
                  <c:v>347.6532861085355</c:v>
                </c:pt>
                <c:pt idx="73">
                  <c:v>367.48548489331085</c:v>
                </c:pt>
                <c:pt idx="74">
                  <c:v>387.742946319113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8</c:v>
                </c:pt>
                <c:pt idx="36">
                  <c:v>8</c:v>
                </c:pt>
                <c:pt idx="37">
                  <c:v>9</c:v>
                </c:pt>
                <c:pt idx="38">
                  <c:v>10</c:v>
                </c:pt>
                <c:pt idx="39">
                  <c:v>10</c:v>
                </c:pt>
                <c:pt idx="40">
                  <c:v>10</c:v>
                </c:pt>
                <c:pt idx="41">
                  <c:v>12</c:v>
                </c:pt>
                <c:pt idx="42">
                  <c:v>13</c:v>
                </c:pt>
                <c:pt idx="43">
                  <c:v>13</c:v>
                </c:pt>
                <c:pt idx="44">
                  <c:v>14</c:v>
                </c:pt>
                <c:pt idx="45">
                  <c:v>15</c:v>
                </c:pt>
                <c:pt idx="46">
                  <c:v>15</c:v>
                </c:pt>
                <c:pt idx="47">
                  <c:v>16</c:v>
                </c:pt>
                <c:pt idx="48">
                  <c:v>18</c:v>
                </c:pt>
                <c:pt idx="49">
                  <c:v>21</c:v>
                </c:pt>
                <c:pt idx="50">
                  <c:v>24</c:v>
                </c:pt>
                <c:pt idx="51">
                  <c:v>26</c:v>
                </c:pt>
                <c:pt idx="52">
                  <c:v>27</c:v>
                </c:pt>
                <c:pt idx="53">
                  <c:v>29</c:v>
                </c:pt>
                <c:pt idx="54">
                  <c:v>29</c:v>
                </c:pt>
                <c:pt idx="55">
                  <c:v>30</c:v>
                </c:pt>
                <c:pt idx="56">
                  <c:v>31</c:v>
                </c:pt>
                <c:pt idx="57">
                  <c:v>33</c:v>
                </c:pt>
                <c:pt idx="58">
                  <c:v>34</c:v>
                </c:pt>
                <c:pt idx="59">
                  <c:v>35</c:v>
                </c:pt>
                <c:pt idx="60">
                  <c:v>38</c:v>
                </c:pt>
                <c:pt idx="61">
                  <c:v>41</c:v>
                </c:pt>
                <c:pt idx="62">
                  <c:v>46</c:v>
                </c:pt>
                <c:pt idx="63">
                  <c:v>48</c:v>
                </c:pt>
                <c:pt idx="64">
                  <c:v>52</c:v>
                </c:pt>
                <c:pt idx="65">
                  <c:v>58</c:v>
                </c:pt>
                <c:pt idx="66">
                  <c:v>63</c:v>
                </c:pt>
                <c:pt idx="67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8.548002597118014</c:v>
                </c:pt>
                <c:pt idx="50">
                  <c:v>19.096519187347251</c:v>
                </c:pt>
                <c:pt idx="51">
                  <c:v>19.645374516621082</c:v>
                </c:pt>
                <c:pt idx="52">
                  <c:v>20.194487706085742</c:v>
                </c:pt>
                <c:pt idx="53">
                  <c:v>20.743781973896525</c:v>
                </c:pt>
                <c:pt idx="54">
                  <c:v>21.293193355971017</c:v>
                </c:pt>
                <c:pt idx="55">
                  <c:v>21.842707228770564</c:v>
                </c:pt>
                <c:pt idx="56">
                  <c:v>22.392299603469585</c:v>
                </c:pt>
                <c:pt idx="57">
                  <c:v>22.941964298935662</c:v>
                </c:pt>
                <c:pt idx="58">
                  <c:v>23.491699558510444</c:v>
                </c:pt>
                <c:pt idx="59">
                  <c:v>24.041488618821813</c:v>
                </c:pt>
                <c:pt idx="60">
                  <c:v>24.591323788523926</c:v>
                </c:pt>
                <c:pt idx="61">
                  <c:v>25.141202001034241</c:v>
                </c:pt>
                <c:pt idx="62">
                  <c:v>25.691104292145209</c:v>
                </c:pt>
                <c:pt idx="63">
                  <c:v>26.241031553009005</c:v>
                </c:pt>
                <c:pt idx="64">
                  <c:v>26.790977893631581</c:v>
                </c:pt>
                <c:pt idx="65">
                  <c:v>27.340940642498687</c:v>
                </c:pt>
                <c:pt idx="66">
                  <c:v>27.890903391365335</c:v>
                </c:pt>
                <c:pt idx="67">
                  <c:v>28.440866140232441</c:v>
                </c:pt>
                <c:pt idx="68">
                  <c:v>28.990828889099088</c:v>
                </c:pt>
                <c:pt idx="69">
                  <c:v>29.540791637966194</c:v>
                </c:pt>
                <c:pt idx="70">
                  <c:v>30.090754386832842</c:v>
                </c:pt>
                <c:pt idx="71">
                  <c:v>30.640717135699948</c:v>
                </c:pt>
                <c:pt idx="72">
                  <c:v>31.190679884566595</c:v>
                </c:pt>
                <c:pt idx="73">
                  <c:v>31.740642633433701</c:v>
                </c:pt>
                <c:pt idx="74">
                  <c:v>32.2906053823003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8.644503508769077</c:v>
                </c:pt>
                <c:pt idx="50">
                  <c:v>19.301829354252661</c:v>
                </c:pt>
                <c:pt idx="51">
                  <c:v>19.972125528677502</c:v>
                </c:pt>
                <c:pt idx="52">
                  <c:v>20.655546136463254</c:v>
                </c:pt>
                <c:pt idx="53">
                  <c:v>21.352273734625122</c:v>
                </c:pt>
                <c:pt idx="54">
                  <c:v>22.062500919632861</c:v>
                </c:pt>
                <c:pt idx="55">
                  <c:v>22.78642796786216</c:v>
                </c:pt>
                <c:pt idx="56">
                  <c:v>23.524255847364923</c:v>
                </c:pt>
                <c:pt idx="57">
                  <c:v>24.276174733215647</c:v>
                </c:pt>
                <c:pt idx="58">
                  <c:v>25.042377445381334</c:v>
                </c:pt>
                <c:pt idx="59">
                  <c:v>25.823057272089656</c:v>
                </c:pt>
                <c:pt idx="60">
                  <c:v>26.618397831128924</c:v>
                </c:pt>
                <c:pt idx="61">
                  <c:v>27.428586185223583</c:v>
                </c:pt>
                <c:pt idx="62">
                  <c:v>28.253808413058028</c:v>
                </c:pt>
                <c:pt idx="63">
                  <c:v>29.094248139239284</c:v>
                </c:pt>
                <c:pt idx="64">
                  <c:v>29.950079199871009</c:v>
                </c:pt>
                <c:pt idx="65">
                  <c:v>30.821475534513674</c:v>
                </c:pt>
                <c:pt idx="66">
                  <c:v>31.7086092824551</c:v>
                </c:pt>
                <c:pt idx="67">
                  <c:v>32.611649810295866</c:v>
                </c:pt>
                <c:pt idx="68">
                  <c:v>33.530763170722885</c:v>
                </c:pt>
                <c:pt idx="69">
                  <c:v>34.466125725777495</c:v>
                </c:pt>
                <c:pt idx="70">
                  <c:v>35.41792077255694</c:v>
                </c:pt>
                <c:pt idx="71">
                  <c:v>36.386335979680744</c:v>
                </c:pt>
                <c:pt idx="72">
                  <c:v>37.371562194445069</c:v>
                </c:pt>
                <c:pt idx="73">
                  <c:v>38.373792902030168</c:v>
                </c:pt>
                <c:pt idx="74">
                  <c:v>39.393224215192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8.776183947889699</c:v>
                </c:pt>
                <c:pt idx="50">
                  <c:v>19.582683062640882</c:v>
                </c:pt>
                <c:pt idx="51">
                  <c:v>20.420564575682004</c:v>
                </c:pt>
                <c:pt idx="52">
                  <c:v>21.290923582941357</c:v>
                </c:pt>
                <c:pt idx="53">
                  <c:v>22.194899491905161</c:v>
                </c:pt>
                <c:pt idx="54">
                  <c:v>23.133675868866877</c:v>
                </c:pt>
                <c:pt idx="55">
                  <c:v>24.108465374021012</c:v>
                </c:pt>
                <c:pt idx="56">
                  <c:v>25.120509725690834</c:v>
                </c:pt>
                <c:pt idx="57">
                  <c:v>26.171081243537301</c:v>
                </c:pt>
                <c:pt idx="58">
                  <c:v>27.261485092239383</c:v>
                </c:pt>
                <c:pt idx="59">
                  <c:v>28.393060474122279</c:v>
                </c:pt>
                <c:pt idx="60">
                  <c:v>29.567182375707951</c:v>
                </c:pt>
                <c:pt idx="61">
                  <c:v>30.785260816244381</c:v>
                </c:pt>
                <c:pt idx="62">
                  <c:v>32.048737859026168</c:v>
                </c:pt>
                <c:pt idx="63">
                  <c:v>33.359087248658028</c:v>
                </c:pt>
                <c:pt idx="64">
                  <c:v>34.717814389742422</c:v>
                </c:pt>
                <c:pt idx="65">
                  <c:v>36.126456521652507</c:v>
                </c:pt>
                <c:pt idx="66">
                  <c:v>37.586582279896149</c:v>
                </c:pt>
                <c:pt idx="67">
                  <c:v>39.09979113841851</c:v>
                </c:pt>
                <c:pt idx="68">
                  <c:v>40.667712716704052</c:v>
                </c:pt>
                <c:pt idx="69">
                  <c:v>42.292033492505979</c:v>
                </c:pt>
                <c:pt idx="70">
                  <c:v>43.974490687365808</c:v>
                </c:pt>
                <c:pt idx="71">
                  <c:v>45.716867774454329</c:v>
                </c:pt>
                <c:pt idx="72">
                  <c:v>47.52099246929118</c:v>
                </c:pt>
                <c:pt idx="73">
                  <c:v>49.388735833485455</c:v>
                </c:pt>
                <c:pt idx="74">
                  <c:v>51.3220122191977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9.806770030902285</c:v>
                </c:pt>
                <c:pt idx="50">
                  <c:v>21.7842280372803</c:v>
                </c:pt>
                <c:pt idx="51">
                  <c:v>23.993978377520538</c:v>
                </c:pt>
                <c:pt idx="52">
                  <c:v>26.424590278255611</c:v>
                </c:pt>
                <c:pt idx="53">
                  <c:v>29.035475697218136</c:v>
                </c:pt>
                <c:pt idx="54">
                  <c:v>31.845408802723203</c:v>
                </c:pt>
                <c:pt idx="55">
                  <c:v>34.945638589136664</c:v>
                </c:pt>
                <c:pt idx="56">
                  <c:v>38.316822877876206</c:v>
                </c:pt>
                <c:pt idx="57">
                  <c:v>41.983378370922239</c:v>
                </c:pt>
                <c:pt idx="58">
                  <c:v>45.997496388454252</c:v>
                </c:pt>
                <c:pt idx="59">
                  <c:v>50.35098637109877</c:v>
                </c:pt>
                <c:pt idx="60">
                  <c:v>55.042100290335071</c:v>
                </c:pt>
                <c:pt idx="61">
                  <c:v>60.129019274542017</c:v>
                </c:pt>
                <c:pt idx="62">
                  <c:v>65.578595696372105</c:v>
                </c:pt>
                <c:pt idx="63">
                  <c:v>71.35571782427759</c:v>
                </c:pt>
                <c:pt idx="64">
                  <c:v>77.427468734641934</c:v>
                </c:pt>
                <c:pt idx="65">
                  <c:v>83.780700769606298</c:v>
                </c:pt>
                <c:pt idx="66">
                  <c:v>90.397632492459792</c:v>
                </c:pt>
                <c:pt idx="67">
                  <c:v>97.26418236087153</c:v>
                </c:pt>
                <c:pt idx="68">
                  <c:v>104.37653701194904</c:v>
                </c:pt>
                <c:pt idx="69">
                  <c:v>111.72254729088334</c:v>
                </c:pt>
                <c:pt idx="70">
                  <c:v>119.28823115217975</c:v>
                </c:pt>
                <c:pt idx="71">
                  <c:v>127.06357026507727</c:v>
                </c:pt>
                <c:pt idx="72">
                  <c:v>135.03806481142738</c:v>
                </c:pt>
                <c:pt idx="73">
                  <c:v>143.19990381462287</c:v>
                </c:pt>
                <c:pt idx="74">
                  <c:v>151.54122815130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4</c:v>
                </c:pt>
                <c:pt idx="34">
                  <c:v>4</c:v>
                </c:pt>
                <c:pt idx="35">
                  <c:v>5</c:v>
                </c:pt>
                <c:pt idx="36">
                  <c:v>6</c:v>
                </c:pt>
                <c:pt idx="37">
                  <c:v>7</c:v>
                </c:pt>
                <c:pt idx="38">
                  <c:v>8</c:v>
                </c:pt>
                <c:pt idx="39">
                  <c:v>8</c:v>
                </c:pt>
                <c:pt idx="40">
                  <c:v>10</c:v>
                </c:pt>
                <c:pt idx="41">
                  <c:v>10</c:v>
                </c:pt>
                <c:pt idx="42">
                  <c:v>12</c:v>
                </c:pt>
                <c:pt idx="43">
                  <c:v>12</c:v>
                </c:pt>
                <c:pt idx="44">
                  <c:v>12</c:v>
                </c:pt>
                <c:pt idx="45">
                  <c:v>12</c:v>
                </c:pt>
                <c:pt idx="46">
                  <c:v>13</c:v>
                </c:pt>
                <c:pt idx="47">
                  <c:v>14</c:v>
                </c:pt>
                <c:pt idx="48">
                  <c:v>14</c:v>
                </c:pt>
                <c:pt idx="49">
                  <c:v>14</c:v>
                </c:pt>
                <c:pt idx="50">
                  <c:v>15</c:v>
                </c:pt>
                <c:pt idx="51">
                  <c:v>16</c:v>
                </c:pt>
                <c:pt idx="52">
                  <c:v>18</c:v>
                </c:pt>
                <c:pt idx="53">
                  <c:v>21</c:v>
                </c:pt>
                <c:pt idx="54">
                  <c:v>22</c:v>
                </c:pt>
                <c:pt idx="55">
                  <c:v>26</c:v>
                </c:pt>
                <c:pt idx="56">
                  <c:v>29</c:v>
                </c:pt>
                <c:pt idx="57">
                  <c:v>31</c:v>
                </c:pt>
                <c:pt idx="58">
                  <c:v>32</c:v>
                </c:pt>
                <c:pt idx="59">
                  <c:v>35</c:v>
                </c:pt>
                <c:pt idx="60">
                  <c:v>37</c:v>
                </c:pt>
                <c:pt idx="61">
                  <c:v>41</c:v>
                </c:pt>
                <c:pt idx="62">
                  <c:v>43</c:v>
                </c:pt>
                <c:pt idx="63">
                  <c:v>44</c:v>
                </c:pt>
                <c:pt idx="64">
                  <c:v>50</c:v>
                </c:pt>
                <c:pt idx="65">
                  <c:v>55</c:v>
                </c:pt>
                <c:pt idx="66">
                  <c:v>58</c:v>
                </c:pt>
                <c:pt idx="67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4.472786554376327</c:v>
                </c:pt>
                <c:pt idx="50">
                  <c:v>14.946016553789788</c:v>
                </c:pt>
                <c:pt idx="51">
                  <c:v>15.419538798653484</c:v>
                </c:pt>
                <c:pt idx="52">
                  <c:v>15.893283511132797</c:v>
                </c:pt>
                <c:pt idx="53">
                  <c:v>16.36718444806759</c:v>
                </c:pt>
                <c:pt idx="54">
                  <c:v>16.841186424759311</c:v>
                </c:pt>
                <c:pt idx="55">
                  <c:v>17.315276824821666</c:v>
                </c:pt>
                <c:pt idx="56">
                  <c:v>17.789434952012979</c:v>
                </c:pt>
                <c:pt idx="57">
                  <c:v>18.263655473591555</c:v>
                </c:pt>
                <c:pt idx="58">
                  <c:v>18.737936874009016</c:v>
                </c:pt>
                <c:pt idx="59">
                  <c:v>19.212264690748235</c:v>
                </c:pt>
                <c:pt idx="60">
                  <c:v>19.686632288138291</c:v>
                </c:pt>
                <c:pt idx="61">
                  <c:v>20.161037020500132</c:v>
                </c:pt>
                <c:pt idx="62">
                  <c:v>20.635462526556655</c:v>
                </c:pt>
                <c:pt idx="63">
                  <c:v>21.109909575145029</c:v>
                </c:pt>
                <c:pt idx="64">
                  <c:v>21.584373084701763</c:v>
                </c:pt>
                <c:pt idx="65">
                  <c:v>22.058850750391034</c:v>
                </c:pt>
                <c:pt idx="66">
                  <c:v>22.533328416079904</c:v>
                </c:pt>
                <c:pt idx="67">
                  <c:v>23.007806081769175</c:v>
                </c:pt>
                <c:pt idx="68">
                  <c:v>23.482283747458045</c:v>
                </c:pt>
                <c:pt idx="69">
                  <c:v>23.956761413147316</c:v>
                </c:pt>
                <c:pt idx="70">
                  <c:v>24.431239078836185</c:v>
                </c:pt>
                <c:pt idx="71">
                  <c:v>24.905716744525456</c:v>
                </c:pt>
                <c:pt idx="72">
                  <c:v>25.380194410214326</c:v>
                </c:pt>
                <c:pt idx="73">
                  <c:v>25.854672075903597</c:v>
                </c:pt>
                <c:pt idx="74">
                  <c:v>26.3291497415924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14.556042242859597</c:v>
                </c:pt>
                <c:pt idx="50">
                  <c:v>15.123146893865041</c:v>
                </c:pt>
                <c:pt idx="51">
                  <c:v>15.701441632584512</c:v>
                </c:pt>
                <c:pt idx="52">
                  <c:v>16.291059411850654</c:v>
                </c:pt>
                <c:pt idx="53">
                  <c:v>16.892157731833443</c:v>
                </c:pt>
                <c:pt idx="54">
                  <c:v>17.504902754193061</c:v>
                </c:pt>
                <c:pt idx="55">
                  <c:v>18.129467266390886</c:v>
                </c:pt>
                <c:pt idx="56">
                  <c:v>18.766024652628566</c:v>
                </c:pt>
                <c:pt idx="57">
                  <c:v>19.414738985519389</c:v>
                </c:pt>
                <c:pt idx="58">
                  <c:v>20.075776619544687</c:v>
                </c:pt>
                <c:pt idx="59">
                  <c:v>20.749304313175397</c:v>
                </c:pt>
                <c:pt idx="60">
                  <c:v>21.435480481758294</c:v>
                </c:pt>
                <c:pt idx="61">
                  <c:v>22.13446651274192</c:v>
                </c:pt>
                <c:pt idx="62">
                  <c:v>22.846422944599087</c:v>
                </c:pt>
                <c:pt idx="63">
                  <c:v>23.571508198559386</c:v>
                </c:pt>
                <c:pt idx="64">
                  <c:v>24.309872250869109</c:v>
                </c:pt>
                <c:pt idx="65">
                  <c:v>25.061665167031407</c:v>
                </c:pt>
                <c:pt idx="66">
                  <c:v>25.827035459373029</c:v>
                </c:pt>
                <c:pt idx="67">
                  <c:v>26.606129248098394</c:v>
                </c:pt>
                <c:pt idx="68">
                  <c:v>27.399089794349155</c:v>
                </c:pt>
                <c:pt idx="69">
                  <c:v>28.206069253611957</c:v>
                </c:pt>
                <c:pt idx="70">
                  <c:v>29.027225764558928</c:v>
                </c:pt>
                <c:pt idx="71">
                  <c:v>29.86272123737162</c:v>
                </c:pt>
                <c:pt idx="72">
                  <c:v>30.712720324619276</c:v>
                </c:pt>
                <c:pt idx="73">
                  <c:v>31.577389954692695</c:v>
                </c:pt>
                <c:pt idx="74">
                  <c:v>32.456899322911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4.669648896218565</c:v>
                </c:pt>
                <c:pt idx="50">
                  <c:v>15.365452054043114</c:v>
                </c:pt>
                <c:pt idx="51">
                  <c:v>16.088330222157023</c:v>
                </c:pt>
                <c:pt idx="52">
                  <c:v>16.839228189204306</c:v>
                </c:pt>
                <c:pt idx="53">
                  <c:v>17.619128973408372</c:v>
                </c:pt>
                <c:pt idx="54">
                  <c:v>18.429053690787107</c:v>
                </c:pt>
                <c:pt idx="55">
                  <c:v>19.27004855797891</c:v>
                </c:pt>
                <c:pt idx="56">
                  <c:v>20.143184861380323</c:v>
                </c:pt>
                <c:pt idx="57">
                  <c:v>21.049560288541983</c:v>
                </c:pt>
                <c:pt idx="58">
                  <c:v>21.990300863892799</c:v>
                </c:pt>
                <c:pt idx="59">
                  <c:v>22.966561977674122</c:v>
                </c:pt>
                <c:pt idx="60">
                  <c:v>23.979529892767641</c:v>
                </c:pt>
                <c:pt idx="61">
                  <c:v>25.030421096367697</c:v>
                </c:pt>
                <c:pt idx="62">
                  <c:v>26.120479721512769</c:v>
                </c:pt>
                <c:pt idx="63">
                  <c:v>27.250977234136332</c:v>
                </c:pt>
                <c:pt idx="64">
                  <c:v>28.423212414679732</c:v>
                </c:pt>
                <c:pt idx="65">
                  <c:v>29.638511508876668</c:v>
                </c:pt>
                <c:pt idx="66">
                  <c:v>30.898227849322161</c:v>
                </c:pt>
                <c:pt idx="67">
                  <c:v>32.203741374321844</c:v>
                </c:pt>
                <c:pt idx="68">
                  <c:v>33.556458030097602</c:v>
                </c:pt>
                <c:pt idx="69">
                  <c:v>34.957832817063967</c:v>
                </c:pt>
                <c:pt idx="70">
                  <c:v>36.409364514590095</c:v>
                </c:pt>
                <c:pt idx="71">
                  <c:v>37.912591805411559</c:v>
                </c:pt>
                <c:pt idx="72">
                  <c:v>39.469091542133548</c:v>
                </c:pt>
                <c:pt idx="73">
                  <c:v>41.080477973987435</c:v>
                </c:pt>
                <c:pt idx="74">
                  <c:v>42.7484026989157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5.555933809432924</c:v>
                </c:pt>
                <c:pt idx="50">
                  <c:v>17.259234569915371</c:v>
                </c:pt>
                <c:pt idx="51">
                  <c:v>19.162578407894884</c:v>
                </c:pt>
                <c:pt idx="52">
                  <c:v>21.255902934568375</c:v>
                </c:pt>
                <c:pt idx="53">
                  <c:v>23.50442735227066</c:v>
                </c:pt>
                <c:pt idx="54">
                  <c:v>25.92498840017463</c:v>
                </c:pt>
                <c:pt idx="55">
                  <c:v>28.595785083447844</c:v>
                </c:pt>
                <c:pt idx="56">
                  <c:v>31.500180932708364</c:v>
                </c:pt>
                <c:pt idx="57">
                  <c:v>34.659139082406618</c:v>
                </c:pt>
                <c:pt idx="58">
                  <c:v>38.117197640608254</c:v>
                </c:pt>
                <c:pt idx="59">
                  <c:v>41.867512381386788</c:v>
                </c:pt>
                <c:pt idx="60">
                  <c:v>45.909004363358328</c:v>
                </c:pt>
                <c:pt idx="61">
                  <c:v>50.291568834952592</c:v>
                </c:pt>
                <c:pt idx="62">
                  <c:v>54.986429885863345</c:v>
                </c:pt>
                <c:pt idx="63">
                  <c:v>59.963403062698333</c:v>
                </c:pt>
                <c:pt idx="64">
                  <c:v>65.194074919882894</c:v>
                </c:pt>
                <c:pt idx="65">
                  <c:v>70.667024907637071</c:v>
                </c:pt>
                <c:pt idx="66">
                  <c:v>76.366886004156882</c:v>
                </c:pt>
                <c:pt idx="67">
                  <c:v>82.281556274496538</c:v>
                </c:pt>
                <c:pt idx="68">
                  <c:v>88.407893051925811</c:v>
                </c:pt>
                <c:pt idx="69">
                  <c:v>94.735342717557799</c:v>
                </c:pt>
                <c:pt idx="70">
                  <c:v>101.25177676358244</c:v>
                </c:pt>
                <c:pt idx="71">
                  <c:v>107.94857402900092</c:v>
                </c:pt>
                <c:pt idx="72">
                  <c:v>114.81668076151107</c:v>
                </c:pt>
                <c:pt idx="73">
                  <c:v>121.84595746141927</c:v>
                </c:pt>
                <c:pt idx="74">
                  <c:v>129.029648954887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5</c:v>
                </c:pt>
                <c:pt idx="31">
                  <c:v>5</c:v>
                </c:pt>
                <c:pt idx="32">
                  <c:v>6</c:v>
                </c:pt>
                <c:pt idx="33">
                  <c:v>5</c:v>
                </c:pt>
                <c:pt idx="34">
                  <c:v>9</c:v>
                </c:pt>
                <c:pt idx="35">
                  <c:v>8</c:v>
                </c:pt>
                <c:pt idx="36">
                  <c:v>6</c:v>
                </c:pt>
                <c:pt idx="37">
                  <c:v>5</c:v>
                </c:pt>
                <c:pt idx="38">
                  <c:v>6</c:v>
                </c:pt>
                <c:pt idx="39">
                  <c:v>6</c:v>
                </c:pt>
                <c:pt idx="40">
                  <c:v>11</c:v>
                </c:pt>
                <c:pt idx="41">
                  <c:v>11</c:v>
                </c:pt>
                <c:pt idx="42">
                  <c:v>10</c:v>
                </c:pt>
                <c:pt idx="43">
                  <c:v>11</c:v>
                </c:pt>
                <c:pt idx="44">
                  <c:v>11</c:v>
                </c:pt>
                <c:pt idx="45">
                  <c:v>14</c:v>
                </c:pt>
                <c:pt idx="46">
                  <c:v>15</c:v>
                </c:pt>
                <c:pt idx="47">
                  <c:v>15</c:v>
                </c:pt>
                <c:pt idx="48">
                  <c:v>15</c:v>
                </c:pt>
                <c:pt idx="49">
                  <c:v>12</c:v>
                </c:pt>
                <c:pt idx="50">
                  <c:v>15</c:v>
                </c:pt>
                <c:pt idx="51">
                  <c:v>13</c:v>
                </c:pt>
                <c:pt idx="52">
                  <c:v>11</c:v>
                </c:pt>
                <c:pt idx="53">
                  <c:v>14</c:v>
                </c:pt>
                <c:pt idx="54">
                  <c:v>13</c:v>
                </c:pt>
                <c:pt idx="55">
                  <c:v>13</c:v>
                </c:pt>
                <c:pt idx="56">
                  <c:v>19</c:v>
                </c:pt>
                <c:pt idx="57">
                  <c:v>20</c:v>
                </c:pt>
                <c:pt idx="58">
                  <c:v>23</c:v>
                </c:pt>
                <c:pt idx="59">
                  <c:v>21</c:v>
                </c:pt>
                <c:pt idx="60">
                  <c:v>22</c:v>
                </c:pt>
                <c:pt idx="61">
                  <c:v>29</c:v>
                </c:pt>
                <c:pt idx="62">
                  <c:v>28</c:v>
                </c:pt>
                <c:pt idx="63">
                  <c:v>29</c:v>
                </c:pt>
                <c:pt idx="64">
                  <c:v>31</c:v>
                </c:pt>
                <c:pt idx="65">
                  <c:v>32</c:v>
                </c:pt>
                <c:pt idx="66">
                  <c:v>33</c:v>
                </c:pt>
                <c:pt idx="67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4.8951193037868252</c:v>
                </c:pt>
                <c:pt idx="50">
                  <c:v>4.9126024509756601</c:v>
                </c:pt>
                <c:pt idx="51">
                  <c:v>4.9274299128562591</c:v>
                </c:pt>
                <c:pt idx="52">
                  <c:v>4.9400245372856384</c:v>
                </c:pt>
                <c:pt idx="53">
                  <c:v>4.950768873439257</c:v>
                </c:pt>
                <c:pt idx="54">
                  <c:v>4.9599601148537626</c:v>
                </c:pt>
                <c:pt idx="55">
                  <c:v>4.9678238547372695</c:v>
                </c:pt>
                <c:pt idx="56">
                  <c:v>4.9745496221191665</c:v>
                </c:pt>
                <c:pt idx="57">
                  <c:v>4.9802799608798551</c:v>
                </c:pt>
                <c:pt idx="58">
                  <c:v>4.9851621966825137</c:v>
                </c:pt>
                <c:pt idx="59">
                  <c:v>4.9893218506625328</c:v>
                </c:pt>
                <c:pt idx="60">
                  <c:v>4.9928658665464161</c:v>
                </c:pt>
                <c:pt idx="61">
                  <c:v>4.9958853601498632</c:v>
                </c:pt>
                <c:pt idx="62">
                  <c:v>4.9984579619439806</c:v>
                </c:pt>
                <c:pt idx="63">
                  <c:v>5.0006498129164552</c:v>
                </c:pt>
                <c:pt idx="64">
                  <c:v>5.0025172650408081</c:v>
                </c:pt>
                <c:pt idx="65">
                  <c:v>5.004108330072393</c:v>
                </c:pt>
                <c:pt idx="66">
                  <c:v>5.005463913919348</c:v>
                </c:pt>
                <c:pt idx="67">
                  <c:v>5.006618868323879</c:v>
                </c:pt>
                <c:pt idx="68">
                  <c:v>5.007602886892367</c:v>
                </c:pt>
                <c:pt idx="69">
                  <c:v>5.0084412685110102</c:v>
                </c:pt>
                <c:pt idx="70">
                  <c:v>5.0091555677742443</c:v>
                </c:pt>
                <c:pt idx="71">
                  <c:v>5.0097641491482996</c:v>
                </c:pt>
                <c:pt idx="72">
                  <c:v>5.0102826591173146</c:v>
                </c:pt>
                <c:pt idx="73">
                  <c:v>5.010724428450767</c:v>
                </c:pt>
                <c:pt idx="74">
                  <c:v>5.01110081493442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6.0537644471510133</c:v>
                </c:pt>
                <c:pt idx="50">
                  <c:v>6.1944492463706089</c:v>
                </c:pt>
                <c:pt idx="51">
                  <c:v>6.3362665543434487</c:v>
                </c:pt>
                <c:pt idx="52">
                  <c:v>6.4793822052490695</c:v>
                </c:pt>
                <c:pt idx="53">
                  <c:v>6.6239255002271955</c:v>
                </c:pt>
                <c:pt idx="54">
                  <c:v>6.7699992611851503</c:v>
                </c:pt>
                <c:pt idx="55">
                  <c:v>6.9176720592561844</c:v>
                </c:pt>
                <c:pt idx="56">
                  <c:v>7.0669945176500324</c:v>
                </c:pt>
                <c:pt idx="57">
                  <c:v>7.2180084104432396</c:v>
                </c:pt>
                <c:pt idx="58">
                  <c:v>7.3707328971805808</c:v>
                </c:pt>
                <c:pt idx="59">
                  <c:v>7.5251873544345518</c:v>
                </c:pt>
                <c:pt idx="60">
                  <c:v>7.681391378263732</c:v>
                </c:pt>
                <c:pt idx="61">
                  <c:v>7.839364786698984</c:v>
                </c:pt>
                <c:pt idx="62">
                  <c:v>7.999127622257828</c:v>
                </c:pt>
                <c:pt idx="63">
                  <c:v>8.1607001544872873</c:v>
                </c:pt>
                <c:pt idx="64">
                  <c:v>8.3241028825355379</c:v>
                </c:pt>
                <c:pt idx="65">
                  <c:v>8.4893565377527036</c:v>
                </c:pt>
                <c:pt idx="66">
                  <c:v>8.6564820863210787</c:v>
                </c:pt>
                <c:pt idx="67">
                  <c:v>8.8255007319151879</c:v>
                </c:pt>
                <c:pt idx="68">
                  <c:v>8.9964339183919328</c:v>
                </c:pt>
                <c:pt idx="69">
                  <c:v>9.1693033325112481</c:v>
                </c:pt>
                <c:pt idx="70">
                  <c:v>9.3441309066875551</c:v>
                </c:pt>
                <c:pt idx="71">
                  <c:v>9.5209388217723845</c:v>
                </c:pt>
                <c:pt idx="72">
                  <c:v>9.6997495098685196</c:v>
                </c:pt>
                <c:pt idx="73">
                  <c:v>9.8805856571760309</c:v>
                </c:pt>
                <c:pt idx="74">
                  <c:v>10.0634702068705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7.6986236681734574</c:v>
                </c:pt>
                <c:pt idx="50">
                  <c:v>8.0283057289199498</c:v>
                </c:pt>
                <c:pt idx="51">
                  <c:v>8.3696392439472884</c:v>
                </c:pt>
                <c:pt idx="52">
                  <c:v>8.7229497145861874</c:v>
                </c:pt>
                <c:pt idx="53">
                  <c:v>9.0885695397156159</c:v>
                </c:pt>
                <c:pt idx="54">
                  <c:v>9.4668362389719221</c:v>
                </c:pt>
                <c:pt idx="55">
                  <c:v>9.8580888326460716</c:v>
                </c:pt>
                <c:pt idx="56">
                  <c:v>10.262667541932542</c:v>
                </c:pt>
                <c:pt idx="57">
                  <c:v>10.680913982254586</c:v>
                </c:pt>
                <c:pt idx="58">
                  <c:v>11.113289885451699</c:v>
                </c:pt>
                <c:pt idx="59">
                  <c:v>11.560272581877214</c:v>
                </c:pt>
                <c:pt idx="60">
                  <c:v>12.022355527357043</c:v>
                </c:pt>
                <c:pt idx="61">
                  <c:v>12.500048847950483</c:v>
                </c:pt>
                <c:pt idx="62">
                  <c:v>12.993879903114474</c:v>
                </c:pt>
                <c:pt idx="63">
                  <c:v>13.504393867893006</c:v>
                </c:pt>
                <c:pt idx="64">
                  <c:v>14.032154334774434</c:v>
                </c:pt>
                <c:pt idx="65">
                  <c:v>14.577743935881102</c:v>
                </c:pt>
                <c:pt idx="66">
                  <c:v>15.141764986178169</c:v>
                </c:pt>
                <c:pt idx="67">
                  <c:v>15.724840148411715</c:v>
                </c:pt>
                <c:pt idx="68">
                  <c:v>16.327613120510208</c:v>
                </c:pt>
                <c:pt idx="69">
                  <c:v>16.950749346208191</c:v>
                </c:pt>
                <c:pt idx="70">
                  <c:v>17.594936749676709</c:v>
                </c:pt>
                <c:pt idx="71">
                  <c:v>18.260886494971462</c:v>
                </c:pt>
                <c:pt idx="72">
                  <c:v>18.949333771137155</c:v>
                </c:pt>
                <c:pt idx="73">
                  <c:v>19.661038603834673</c:v>
                </c:pt>
                <c:pt idx="74">
                  <c:v>20.3967866943872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1.353421616149348</c:v>
                </c:pt>
                <c:pt idx="50">
                  <c:v>12.355766005647366</c:v>
                </c:pt>
                <c:pt idx="51">
                  <c:v>13.462650787414244</c:v>
                </c:pt>
                <c:pt idx="52">
                  <c:v>14.719115203216703</c:v>
                </c:pt>
                <c:pt idx="53">
                  <c:v>16.070503424691207</c:v>
                </c:pt>
                <c:pt idx="54">
                  <c:v>17.510528041067758</c:v>
                </c:pt>
                <c:pt idx="55">
                  <c:v>19.093477358117866</c:v>
                </c:pt>
                <c:pt idx="56">
                  <c:v>20.860543082020499</c:v>
                </c:pt>
                <c:pt idx="57">
                  <c:v>22.775960334029214</c:v>
                </c:pt>
                <c:pt idx="58">
                  <c:v>24.864667296508628</c:v>
                </c:pt>
                <c:pt idx="59">
                  <c:v>27.07693730683944</c:v>
                </c:pt>
                <c:pt idx="60">
                  <c:v>29.483550128369849</c:v>
                </c:pt>
                <c:pt idx="61">
                  <c:v>32.020907114267715</c:v>
                </c:pt>
                <c:pt idx="62">
                  <c:v>34.665896210758717</c:v>
                </c:pt>
                <c:pt idx="63">
                  <c:v>37.425700400856556</c:v>
                </c:pt>
                <c:pt idx="64">
                  <c:v>40.194877832014306</c:v>
                </c:pt>
                <c:pt idx="65">
                  <c:v>43.005809823870663</c:v>
                </c:pt>
                <c:pt idx="66">
                  <c:v>45.773408564096556</c:v>
                </c:pt>
                <c:pt idx="67">
                  <c:v>48.533000759175124</c:v>
                </c:pt>
                <c:pt idx="68">
                  <c:v>51.245981103372884</c:v>
                </c:pt>
                <c:pt idx="69">
                  <c:v>53.931175837764613</c:v>
                </c:pt>
                <c:pt idx="70">
                  <c:v>56.547839812134171</c:v>
                </c:pt>
                <c:pt idx="71">
                  <c:v>59.074538273394396</c:v>
                </c:pt>
                <c:pt idx="72">
                  <c:v>61.535007257356774</c:v>
                </c:pt>
                <c:pt idx="73">
                  <c:v>63.91037048514994</c:v>
                </c:pt>
                <c:pt idx="74">
                  <c:v>66.190777482563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4</c:v>
                </c:pt>
                <c:pt idx="11">
                  <c:v>6</c:v>
                </c:pt>
                <c:pt idx="12">
                  <c:v>6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1</c:v>
                </c:pt>
                <c:pt idx="19">
                  <c:v>11</c:v>
                </c:pt>
                <c:pt idx="20">
                  <c:v>12</c:v>
                </c:pt>
                <c:pt idx="21">
                  <c:v>12</c:v>
                </c:pt>
                <c:pt idx="22">
                  <c:v>13</c:v>
                </c:pt>
                <c:pt idx="23">
                  <c:v>14</c:v>
                </c:pt>
                <c:pt idx="24">
                  <c:v>14</c:v>
                </c:pt>
                <c:pt idx="25">
                  <c:v>14</c:v>
                </c:pt>
                <c:pt idx="26">
                  <c:v>14</c:v>
                </c:pt>
                <c:pt idx="27">
                  <c:v>15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7</c:v>
                </c:pt>
                <c:pt idx="32">
                  <c:v>17</c:v>
                </c:pt>
                <c:pt idx="33">
                  <c:v>18</c:v>
                </c:pt>
                <c:pt idx="34">
                  <c:v>19</c:v>
                </c:pt>
                <c:pt idx="35">
                  <c:v>22</c:v>
                </c:pt>
                <c:pt idx="36">
                  <c:v>23</c:v>
                </c:pt>
                <c:pt idx="37">
                  <c:v>25</c:v>
                </c:pt>
                <c:pt idx="38">
                  <c:v>26</c:v>
                </c:pt>
                <c:pt idx="39">
                  <c:v>28</c:v>
                </c:pt>
                <c:pt idx="40">
                  <c:v>31</c:v>
                </c:pt>
                <c:pt idx="41">
                  <c:v>33</c:v>
                </c:pt>
                <c:pt idx="42">
                  <c:v>35</c:v>
                </c:pt>
                <c:pt idx="43">
                  <c:v>38</c:v>
                </c:pt>
                <c:pt idx="44">
                  <c:v>39</c:v>
                </c:pt>
                <c:pt idx="45">
                  <c:v>39</c:v>
                </c:pt>
                <c:pt idx="46">
                  <c:v>40</c:v>
                </c:pt>
                <c:pt idx="47">
                  <c:v>45</c:v>
                </c:pt>
                <c:pt idx="48">
                  <c:v>48</c:v>
                </c:pt>
                <c:pt idx="49">
                  <c:v>49</c:v>
                </c:pt>
                <c:pt idx="50">
                  <c:v>52</c:v>
                </c:pt>
                <c:pt idx="51">
                  <c:v>56</c:v>
                </c:pt>
                <c:pt idx="52">
                  <c:v>59</c:v>
                </c:pt>
                <c:pt idx="53">
                  <c:v>61</c:v>
                </c:pt>
                <c:pt idx="54">
                  <c:v>64</c:v>
                </c:pt>
                <c:pt idx="55">
                  <c:v>67</c:v>
                </c:pt>
                <c:pt idx="56">
                  <c:v>73</c:v>
                </c:pt>
                <c:pt idx="57">
                  <c:v>76</c:v>
                </c:pt>
                <c:pt idx="58">
                  <c:v>82</c:v>
                </c:pt>
                <c:pt idx="59">
                  <c:v>88</c:v>
                </c:pt>
                <c:pt idx="60">
                  <c:v>94</c:v>
                </c:pt>
                <c:pt idx="61">
                  <c:v>103</c:v>
                </c:pt>
                <c:pt idx="62">
                  <c:v>110</c:v>
                </c:pt>
                <c:pt idx="63">
                  <c:v>118</c:v>
                </c:pt>
                <c:pt idx="64">
                  <c:v>122</c:v>
                </c:pt>
                <c:pt idx="65">
                  <c:v>132</c:v>
                </c:pt>
                <c:pt idx="66">
                  <c:v>134</c:v>
                </c:pt>
                <c:pt idx="67">
                  <c:v>1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48.881102214974064</c:v>
                </c:pt>
                <c:pt idx="50">
                  <c:v>49.763030850244604</c:v>
                </c:pt>
                <c:pt idx="51">
                  <c:v>50.645504124763313</c:v>
                </c:pt>
                <c:pt idx="52">
                  <c:v>51.528391998020211</c:v>
                </c:pt>
                <c:pt idx="53">
                  <c:v>52.411571016853237</c:v>
                </c:pt>
                <c:pt idx="54">
                  <c:v>53.294938337051441</c:v>
                </c:pt>
                <c:pt idx="55">
                  <c:v>54.178470446258558</c:v>
                </c:pt>
                <c:pt idx="56">
                  <c:v>55.062128774206002</c:v>
                </c:pt>
                <c:pt idx="57">
                  <c:v>55.945903382602438</c:v>
                </c:pt>
                <c:pt idx="58">
                  <c:v>56.829791447016795</c:v>
                </c:pt>
                <c:pt idx="59">
                  <c:v>57.713766014576251</c:v>
                </c:pt>
                <c:pt idx="60">
                  <c:v>58.597814718803178</c:v>
                </c:pt>
                <c:pt idx="61">
                  <c:v>59.481932629113878</c:v>
                </c:pt>
                <c:pt idx="62">
                  <c:v>60.366089254037398</c:v>
                </c:pt>
                <c:pt idx="63">
                  <c:v>61.250286026406641</c:v>
                </c:pt>
                <c:pt idx="64">
                  <c:v>62.134513476035096</c:v>
                </c:pt>
                <c:pt idx="65">
                  <c:v>63.018767307546916</c:v>
                </c:pt>
                <c:pt idx="66">
                  <c:v>63.903021139057998</c:v>
                </c:pt>
                <c:pt idx="67">
                  <c:v>64.787274970569811</c:v>
                </c:pt>
                <c:pt idx="68">
                  <c:v>65.671528802080886</c:v>
                </c:pt>
                <c:pt idx="69">
                  <c:v>66.555782633592699</c:v>
                </c:pt>
                <c:pt idx="70">
                  <c:v>67.440036465103773</c:v>
                </c:pt>
                <c:pt idx="71">
                  <c:v>68.324290296615587</c:v>
                </c:pt>
                <c:pt idx="72">
                  <c:v>69.208544128126661</c:v>
                </c:pt>
                <c:pt idx="73">
                  <c:v>70.092797959638474</c:v>
                </c:pt>
                <c:pt idx="74">
                  <c:v>70.97705179114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49.036260543511062</c:v>
                </c:pt>
                <c:pt idx="50">
                  <c:v>50.093137393112116</c:v>
                </c:pt>
                <c:pt idx="51">
                  <c:v>51.170868497089309</c:v>
                </c:pt>
                <c:pt idx="52">
                  <c:v>52.269701631176204</c:v>
                </c:pt>
                <c:pt idx="53">
                  <c:v>53.389930318416852</c:v>
                </c:pt>
                <c:pt idx="54">
                  <c:v>54.531864223723417</c:v>
                </c:pt>
                <c:pt idx="55">
                  <c:v>55.695825360092094</c:v>
                </c:pt>
                <c:pt idx="56">
                  <c:v>56.882136852625948</c:v>
                </c:pt>
                <c:pt idx="57">
                  <c:v>58.091104473013388</c:v>
                </c:pt>
                <c:pt idx="58">
                  <c:v>59.323038245515079</c:v>
                </c:pt>
                <c:pt idx="59">
                  <c:v>60.578248947281402</c:v>
                </c:pt>
                <c:pt idx="60">
                  <c:v>61.85703180691317</c:v>
                </c:pt>
                <c:pt idx="61">
                  <c:v>63.159687591928112</c:v>
                </c:pt>
                <c:pt idx="62">
                  <c:v>64.486515487661919</c:v>
                </c:pt>
                <c:pt idx="63">
                  <c:v>65.837810733678836</c:v>
                </c:pt>
                <c:pt idx="64">
                  <c:v>67.213852831165141</c:v>
                </c:pt>
                <c:pt idx="65">
                  <c:v>68.614921447649422</c:v>
                </c:pt>
                <c:pt idx="66">
                  <c:v>70.041293356104262</c:v>
                </c:pt>
                <c:pt idx="67">
                  <c:v>71.493240871456081</c:v>
                </c:pt>
                <c:pt idx="68">
                  <c:v>72.971030980377961</c:v>
                </c:pt>
                <c:pt idx="69">
                  <c:v>74.47494724536773</c:v>
                </c:pt>
                <c:pt idx="70">
                  <c:v>76.005284379405268</c:v>
                </c:pt>
                <c:pt idx="71">
                  <c:v>77.562344124192563</c:v>
                </c:pt>
                <c:pt idx="72">
                  <c:v>79.14643333224501</c:v>
                </c:pt>
                <c:pt idx="73">
                  <c:v>80.757863097381843</c:v>
                </c:pt>
                <c:pt idx="74">
                  <c:v>82.3969487381529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9.247982033861867</c:v>
                </c:pt>
                <c:pt idx="50">
                  <c:v>50.544706100716709</c:v>
                </c:pt>
                <c:pt idx="51">
                  <c:v>51.891888141292625</c:v>
                </c:pt>
                <c:pt idx="52">
                  <c:v>53.291288898062568</c:v>
                </c:pt>
                <c:pt idx="53">
                  <c:v>54.744740359533786</c:v>
                </c:pt>
                <c:pt idx="54">
                  <c:v>56.254145514648705</c:v>
                </c:pt>
                <c:pt idx="55">
                  <c:v>57.821454130778882</c:v>
                </c:pt>
                <c:pt idx="56">
                  <c:v>59.448662696208793</c:v>
                </c:pt>
                <c:pt idx="57">
                  <c:v>61.137816901373704</c:v>
                </c:pt>
                <c:pt idx="58">
                  <c:v>62.891015246345674</c:v>
                </c:pt>
                <c:pt idx="59">
                  <c:v>64.710410958392686</c:v>
                </c:pt>
                <c:pt idx="60">
                  <c:v>66.598214800157876</c:v>
                </c:pt>
                <c:pt idx="61">
                  <c:v>68.556693861412526</c:v>
                </c:pt>
                <c:pt idx="62">
                  <c:v>70.588166753728345</c:v>
                </c:pt>
                <c:pt idx="63">
                  <c:v>72.695003027254074</c:v>
                </c:pt>
                <c:pt idx="64">
                  <c:v>74.879623136448586</c:v>
                </c:pt>
                <c:pt idx="65">
                  <c:v>77.144498721088326</c:v>
                </c:pt>
                <c:pt idx="66">
                  <c:v>79.492151901009478</c:v>
                </c:pt>
                <c:pt idx="67">
                  <c:v>81.925154379417975</c:v>
                </c:pt>
                <c:pt idx="68">
                  <c:v>84.446126328818252</c:v>
                </c:pt>
                <c:pt idx="69">
                  <c:v>87.05777934089194</c:v>
                </c:pt>
                <c:pt idx="70">
                  <c:v>89.762906595372442</c:v>
                </c:pt>
                <c:pt idx="71">
                  <c:v>92.564375637357898</c:v>
                </c:pt>
                <c:pt idx="72">
                  <c:v>95.465125146703414</c:v>
                </c:pt>
                <c:pt idx="73">
                  <c:v>98.468163496976572</c:v>
                </c:pt>
                <c:pt idx="74">
                  <c:v>101.57656866616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50.856583768576925</c:v>
                </c:pt>
                <c:pt idx="50">
                  <c:v>53.989421554665626</c:v>
                </c:pt>
                <c:pt idx="51">
                  <c:v>57.489527063062482</c:v>
                </c:pt>
                <c:pt idx="52">
                  <c:v>61.335112136324355</c:v>
                </c:pt>
                <c:pt idx="53">
                  <c:v>65.464935295517307</c:v>
                </c:pt>
                <c:pt idx="54">
                  <c:v>69.920052555642172</c:v>
                </c:pt>
                <c:pt idx="55">
                  <c:v>74.838242489887492</c:v>
                </c:pt>
                <c:pt idx="56">
                  <c:v>80.189271215541098</c:v>
                </c:pt>
                <c:pt idx="57">
                  <c:v>86.010658615928037</c:v>
                </c:pt>
                <c:pt idx="58">
                  <c:v>92.37799528817294</c:v>
                </c:pt>
                <c:pt idx="59">
                  <c:v>99.281888460991539</c:v>
                </c:pt>
                <c:pt idx="60">
                  <c:v>106.72682332683361</c:v>
                </c:pt>
                <c:pt idx="61">
                  <c:v>114.8012420207631</c:v>
                </c:pt>
                <c:pt idx="62">
                  <c:v>123.44882308352355</c:v>
                </c:pt>
                <c:pt idx="63">
                  <c:v>132.6149487135408</c:v>
                </c:pt>
                <c:pt idx="64">
                  <c:v>142.24644663268506</c:v>
                </c:pt>
                <c:pt idx="65">
                  <c:v>152.3208604385008</c:v>
                </c:pt>
                <c:pt idx="66">
                  <c:v>162.80915540442726</c:v>
                </c:pt>
                <c:pt idx="67">
                  <c:v>173.6894870127071</c:v>
                </c:pt>
                <c:pt idx="68">
                  <c:v>184.95822796199278</c:v>
                </c:pt>
                <c:pt idx="69">
                  <c:v>196.59462039988867</c:v>
                </c:pt>
                <c:pt idx="70">
                  <c:v>208.5750687583193</c:v>
                </c:pt>
                <c:pt idx="71">
                  <c:v>220.88384091377171</c:v>
                </c:pt>
                <c:pt idx="72">
                  <c:v>233.50413834940139</c:v>
                </c:pt>
                <c:pt idx="73">
                  <c:v>246.41782702964099</c:v>
                </c:pt>
                <c:pt idx="74">
                  <c:v>259.612699904256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3</c:v>
                </c:pt>
                <c:pt idx="26">
                  <c:v>4</c:v>
                </c:pt>
                <c:pt idx="27">
                  <c:v>6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4</c:v>
                </c:pt>
                <c:pt idx="34">
                  <c:v>5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3</c:v>
                </c:pt>
                <c:pt idx="39">
                  <c:v>4</c:v>
                </c:pt>
                <c:pt idx="40">
                  <c:v>7</c:v>
                </c:pt>
                <c:pt idx="41">
                  <c:v>7</c:v>
                </c:pt>
                <c:pt idx="42">
                  <c:v>6</c:v>
                </c:pt>
                <c:pt idx="43">
                  <c:v>6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0</c:v>
                </c:pt>
                <c:pt idx="48">
                  <c:v>10</c:v>
                </c:pt>
                <c:pt idx="49">
                  <c:v>13</c:v>
                </c:pt>
                <c:pt idx="50">
                  <c:v>14</c:v>
                </c:pt>
                <c:pt idx="51">
                  <c:v>16</c:v>
                </c:pt>
                <c:pt idx="52">
                  <c:v>18</c:v>
                </c:pt>
                <c:pt idx="53">
                  <c:v>18</c:v>
                </c:pt>
                <c:pt idx="54">
                  <c:v>18</c:v>
                </c:pt>
                <c:pt idx="55">
                  <c:v>18</c:v>
                </c:pt>
                <c:pt idx="56">
                  <c:v>16</c:v>
                </c:pt>
                <c:pt idx="57">
                  <c:v>14</c:v>
                </c:pt>
                <c:pt idx="58">
                  <c:v>13</c:v>
                </c:pt>
                <c:pt idx="59">
                  <c:v>6</c:v>
                </c:pt>
                <c:pt idx="60">
                  <c:v>13</c:v>
                </c:pt>
                <c:pt idx="61">
                  <c:v>17</c:v>
                </c:pt>
                <c:pt idx="62">
                  <c:v>16</c:v>
                </c:pt>
                <c:pt idx="63">
                  <c:v>16</c:v>
                </c:pt>
                <c:pt idx="64">
                  <c:v>14</c:v>
                </c:pt>
                <c:pt idx="65">
                  <c:v>19</c:v>
                </c:pt>
                <c:pt idx="66">
                  <c:v>18</c:v>
                </c:pt>
                <c:pt idx="67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7.0311713636210769</c:v>
                </c:pt>
                <c:pt idx="50">
                  <c:v>7.056283520492312</c:v>
                </c:pt>
                <c:pt idx="51">
                  <c:v>7.0775811475571722</c:v>
                </c:pt>
                <c:pt idx="52">
                  <c:v>7.0956716081011901</c:v>
                </c:pt>
                <c:pt idx="53">
                  <c:v>7.1111043818491151</c:v>
                </c:pt>
                <c:pt idx="54">
                  <c:v>7.1243063467899495</c:v>
                </c:pt>
                <c:pt idx="55">
                  <c:v>7.1356015368044421</c:v>
                </c:pt>
                <c:pt idx="56">
                  <c:v>7.1452621844984394</c:v>
                </c:pt>
                <c:pt idx="57">
                  <c:v>7.1534930347183385</c:v>
                </c:pt>
                <c:pt idx="58">
                  <c:v>7.1605057006894288</c:v>
                </c:pt>
                <c:pt idx="59">
                  <c:v>7.1664804764061838</c:v>
                </c:pt>
                <c:pt idx="60">
                  <c:v>7.1715709719484888</c:v>
                </c:pt>
                <c:pt idx="61">
                  <c:v>7.1759080627607128</c:v>
                </c:pt>
                <c:pt idx="62">
                  <c:v>7.1796032544286268</c:v>
                </c:pt>
                <c:pt idx="63">
                  <c:v>7.1827515494618179</c:v>
                </c:pt>
                <c:pt idx="64">
                  <c:v>7.1854338897858883</c:v>
                </c:pt>
                <c:pt idx="65">
                  <c:v>7.1877192377403469</c:v>
                </c:pt>
                <c:pt idx="66">
                  <c:v>7.1896663490841544</c:v>
                </c:pt>
                <c:pt idx="67">
                  <c:v>7.191325283592481</c:v>
                </c:pt>
                <c:pt idx="68">
                  <c:v>7.1927386920817638</c:v>
                </c:pt>
                <c:pt idx="69">
                  <c:v>7.1939429129521786</c:v>
                </c:pt>
                <c:pt idx="70">
                  <c:v>7.1949689064393691</c:v>
                </c:pt>
                <c:pt idx="71">
                  <c:v>7.1958430505948305</c:v>
                </c:pt>
                <c:pt idx="72">
                  <c:v>7.1965878194594159</c:v>
                </c:pt>
                <c:pt idx="73">
                  <c:v>7.1972223608656476</c:v>
                </c:pt>
                <c:pt idx="74">
                  <c:v>7.19776298872399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8.6954071149987282</c:v>
                </c:pt>
                <c:pt idx="50">
                  <c:v>8.8974816447868736</c:v>
                </c:pt>
                <c:pt idx="51">
                  <c:v>9.1011828689660454</c:v>
                </c:pt>
                <c:pt idx="52">
                  <c:v>9.3067489857213914</c:v>
                </c:pt>
                <c:pt idx="53">
                  <c:v>9.514365718508154</c:v>
                </c:pt>
                <c:pt idx="54">
                  <c:v>9.7241807569750343</c:v>
                </c:pt>
                <c:pt idx="55">
                  <c:v>9.936292594204339</c:v>
                </c:pt>
                <c:pt idx="56">
                  <c:v>10.150773943533682</c:v>
                </c:pt>
                <c:pt idx="57">
                  <c:v>10.367684807727562</c:v>
                </c:pt>
                <c:pt idx="58">
                  <c:v>10.58705270685938</c:v>
                </c:pt>
                <c:pt idx="59">
                  <c:v>10.808905472733267</c:v>
                </c:pt>
                <c:pt idx="60">
                  <c:v>11.033271252415179</c:v>
                </c:pt>
                <c:pt idx="61">
                  <c:v>11.260178511803996</c:v>
                </c:pt>
                <c:pt idx="62">
                  <c:v>11.489656039243062</c:v>
                </c:pt>
                <c:pt idx="63">
                  <c:v>11.721732949172649</c:v>
                </c:pt>
                <c:pt idx="64">
                  <c:v>11.956438685823773</c:v>
                </c:pt>
                <c:pt idx="65">
                  <c:v>12.193803026953884</c:v>
                </c:pt>
                <c:pt idx="66">
                  <c:v>12.433856087624823</c:v>
                </c:pt>
                <c:pt idx="67">
                  <c:v>12.676628324023634</c:v>
                </c:pt>
                <c:pt idx="68">
                  <c:v>12.922150537326596</c:v>
                </c:pt>
                <c:pt idx="69">
                  <c:v>13.170453877607066</c:v>
                </c:pt>
                <c:pt idx="70">
                  <c:v>13.42156984778758</c:v>
                </c:pt>
                <c:pt idx="71">
                  <c:v>13.675530307636697</c:v>
                </c:pt>
                <c:pt idx="72">
                  <c:v>13.932367477811148</c:v>
                </c:pt>
                <c:pt idx="73">
                  <c:v>14.192113943943754</c:v>
                </c:pt>
                <c:pt idx="74">
                  <c:v>14.4548026607776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11.058023087012785</c:v>
                </c:pt>
                <c:pt idx="50">
                  <c:v>11.531566410630473</c:v>
                </c:pt>
                <c:pt idx="51">
                  <c:v>12.021845459487922</c:v>
                </c:pt>
                <c:pt idx="52">
                  <c:v>12.529327771860162</c:v>
                </c:pt>
                <c:pt idx="53">
                  <c:v>13.054490793409704</c:v>
                </c:pt>
                <c:pt idx="54">
                  <c:v>13.597819325068761</c:v>
                </c:pt>
                <c:pt idx="55">
                  <c:v>14.159800323255267</c:v>
                </c:pt>
                <c:pt idx="56">
                  <c:v>14.740922469321289</c:v>
                </c:pt>
                <c:pt idx="57">
                  <c:v>15.341676447238406</c:v>
                </c:pt>
                <c:pt idx="58">
                  <c:v>15.962725471830623</c:v>
                </c:pt>
                <c:pt idx="59">
                  <c:v>16.604755163059998</c:v>
                </c:pt>
                <c:pt idx="60">
                  <c:v>17.268474302931025</c:v>
                </c:pt>
                <c:pt idx="61">
                  <c:v>17.954615617965242</c:v>
                </c:pt>
                <c:pt idx="62">
                  <c:v>18.66393658810988</c:v>
                </c:pt>
                <c:pt idx="63">
                  <c:v>19.397220282973588</c:v>
                </c:pt>
                <c:pt idx="64">
                  <c:v>20.15527622631237</c:v>
                </c:pt>
                <c:pt idx="65">
                  <c:v>20.93894128972013</c:v>
                </c:pt>
                <c:pt idx="66">
                  <c:v>21.749080616510462</c:v>
                </c:pt>
                <c:pt idx="67">
                  <c:v>22.586588576809554</c:v>
                </c:pt>
                <c:pt idx="68">
                  <c:v>23.452389754914666</c:v>
                </c:pt>
                <c:pt idx="69">
                  <c:v>24.347439970008132</c:v>
                </c:pt>
                <c:pt idx="70">
                  <c:v>25.272727331353817</c:v>
                </c:pt>
                <c:pt idx="71">
                  <c:v>26.229273329140828</c:v>
                </c:pt>
                <c:pt idx="72">
                  <c:v>27.218133962178822</c:v>
                </c:pt>
                <c:pt idx="73">
                  <c:v>28.240400903689803</c:v>
                </c:pt>
                <c:pt idx="74">
                  <c:v>29.297202706483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6.340643470817962</c:v>
                </c:pt>
                <c:pt idx="50">
                  <c:v>17.789065901872</c:v>
                </c:pt>
                <c:pt idx="51">
                  <c:v>19.385497761892761</c:v>
                </c:pt>
                <c:pt idx="52">
                  <c:v>21.200954490423527</c:v>
                </c:pt>
                <c:pt idx="53">
                  <c:v>23.152691449587842</c:v>
                </c:pt>
                <c:pt idx="54">
                  <c:v>25.23003704797852</c:v>
                </c:pt>
                <c:pt idx="55">
                  <c:v>27.510521338771014</c:v>
                </c:pt>
                <c:pt idx="56">
                  <c:v>30.057077809074851</c:v>
                </c:pt>
                <c:pt idx="57">
                  <c:v>32.815591922002874</c:v>
                </c:pt>
                <c:pt idx="58">
                  <c:v>35.825663007247144</c:v>
                </c:pt>
                <c:pt idx="59">
                  <c:v>39.013492007659558</c:v>
                </c:pt>
                <c:pt idx="60">
                  <c:v>42.480949703853945</c:v>
                </c:pt>
                <c:pt idx="61">
                  <c:v>46.136312899629985</c:v>
                </c:pt>
                <c:pt idx="62">
                  <c:v>49.946492163158553</c:v>
                </c:pt>
                <c:pt idx="63">
                  <c:v>53.923235102136537</c:v>
                </c:pt>
                <c:pt idx="64">
                  <c:v>57.912721776796417</c:v>
                </c:pt>
                <c:pt idx="65">
                  <c:v>61.96419412525006</c:v>
                </c:pt>
                <c:pt idx="66">
                  <c:v>65.952477547804889</c:v>
                </c:pt>
                <c:pt idx="67">
                  <c:v>69.931388877605073</c:v>
                </c:pt>
                <c:pt idx="68">
                  <c:v>73.842985510300011</c:v>
                </c:pt>
                <c:pt idx="69">
                  <c:v>77.715077922299827</c:v>
                </c:pt>
                <c:pt idx="70">
                  <c:v>81.488830865135554</c:v>
                </c:pt>
                <c:pt idx="71">
                  <c:v>85.13319944948725</c:v>
                </c:pt>
                <c:pt idx="72">
                  <c:v>88.683593207201994</c:v>
                </c:pt>
                <c:pt idx="73">
                  <c:v>92.11138569341901</c:v>
                </c:pt>
                <c:pt idx="74">
                  <c:v>95.402582421765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0</c:v>
                </c:pt>
                <c:pt idx="39">
                  <c:v>0</c:v>
                </c:pt>
                <c:pt idx="40">
                  <c:v>1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4</c:v>
                </c:pt>
                <c:pt idx="46">
                  <c:v>3</c:v>
                </c:pt>
                <c:pt idx="47">
                  <c:v>4</c:v>
                </c:pt>
                <c:pt idx="48">
                  <c:v>5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5</c:v>
                </c:pt>
                <c:pt idx="53">
                  <c:v>5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7</c:v>
                </c:pt>
                <c:pt idx="58">
                  <c:v>9</c:v>
                </c:pt>
                <c:pt idx="59">
                  <c:v>8</c:v>
                </c:pt>
                <c:pt idx="60">
                  <c:v>15</c:v>
                </c:pt>
                <c:pt idx="61">
                  <c:v>20</c:v>
                </c:pt>
                <c:pt idx="62">
                  <c:v>20</c:v>
                </c:pt>
                <c:pt idx="63">
                  <c:v>23</c:v>
                </c:pt>
                <c:pt idx="64">
                  <c:v>24</c:v>
                </c:pt>
                <c:pt idx="65">
                  <c:v>25</c:v>
                </c:pt>
                <c:pt idx="66">
                  <c:v>25</c:v>
                </c:pt>
                <c:pt idx="67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.9580477215147305</c:v>
                </c:pt>
                <c:pt idx="50">
                  <c:v>1.9650409803902642</c:v>
                </c:pt>
                <c:pt idx="51">
                  <c:v>1.9709719651425037</c:v>
                </c:pt>
                <c:pt idx="52">
                  <c:v>1.9760098149142555</c:v>
                </c:pt>
                <c:pt idx="53">
                  <c:v>1.980307549375703</c:v>
                </c:pt>
                <c:pt idx="54">
                  <c:v>1.983984045941505</c:v>
                </c:pt>
                <c:pt idx="55">
                  <c:v>1.987129541894908</c:v>
                </c:pt>
                <c:pt idx="56">
                  <c:v>1.9898198488476668</c:v>
                </c:pt>
                <c:pt idx="57">
                  <c:v>1.9921119843519424</c:v>
                </c:pt>
                <c:pt idx="58">
                  <c:v>1.9940648786730057</c:v>
                </c:pt>
                <c:pt idx="59">
                  <c:v>1.9957287402650132</c:v>
                </c:pt>
                <c:pt idx="60">
                  <c:v>1.9971463466185668</c:v>
                </c:pt>
                <c:pt idx="61">
                  <c:v>1.9983541440599455</c:v>
                </c:pt>
                <c:pt idx="62">
                  <c:v>1.9993831847775925</c:v>
                </c:pt>
                <c:pt idx="63">
                  <c:v>2.0002599251665822</c:v>
                </c:pt>
                <c:pt idx="64">
                  <c:v>2.0010069060163231</c:v>
                </c:pt>
                <c:pt idx="65">
                  <c:v>2.0016433320289573</c:v>
                </c:pt>
                <c:pt idx="66">
                  <c:v>2.0021855655677392</c:v>
                </c:pt>
                <c:pt idx="67">
                  <c:v>2.0026475473295515</c:v>
                </c:pt>
                <c:pt idx="68">
                  <c:v>2.0030411547569469</c:v>
                </c:pt>
                <c:pt idx="69">
                  <c:v>2.0033765074044045</c:v>
                </c:pt>
                <c:pt idx="70">
                  <c:v>2.003662227109698</c:v>
                </c:pt>
                <c:pt idx="71">
                  <c:v>2.0039056596593201</c:v>
                </c:pt>
                <c:pt idx="72">
                  <c:v>2.0041130636469262</c:v>
                </c:pt>
                <c:pt idx="73">
                  <c:v>2.0042897713803072</c:v>
                </c:pt>
                <c:pt idx="74">
                  <c:v>2.00444032597377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.4215057788604053</c:v>
                </c:pt>
                <c:pt idx="50">
                  <c:v>2.4777796985482436</c:v>
                </c:pt>
                <c:pt idx="51">
                  <c:v>2.5345066217373797</c:v>
                </c:pt>
                <c:pt idx="52">
                  <c:v>2.5917528820996281</c:v>
                </c:pt>
                <c:pt idx="53">
                  <c:v>2.6495702000908783</c:v>
                </c:pt>
                <c:pt idx="54">
                  <c:v>2.70799970447406</c:v>
                </c:pt>
                <c:pt idx="55">
                  <c:v>2.7670688237024739</c:v>
                </c:pt>
                <c:pt idx="56">
                  <c:v>2.826797807060013</c:v>
                </c:pt>
                <c:pt idx="57">
                  <c:v>2.8872033641772958</c:v>
                </c:pt>
                <c:pt idx="58">
                  <c:v>2.9482931588722323</c:v>
                </c:pt>
                <c:pt idx="59">
                  <c:v>3.0100749417738211</c:v>
                </c:pt>
                <c:pt idx="60">
                  <c:v>3.0725565513054929</c:v>
                </c:pt>
                <c:pt idx="61">
                  <c:v>3.1357459146795938</c:v>
                </c:pt>
                <c:pt idx="62">
                  <c:v>3.1996510489031316</c:v>
                </c:pt>
                <c:pt idx="63">
                  <c:v>3.2642800617949148</c:v>
                </c:pt>
                <c:pt idx="64">
                  <c:v>3.3296411530142156</c:v>
                </c:pt>
                <c:pt idx="65">
                  <c:v>3.3957426151010814</c:v>
                </c:pt>
                <c:pt idx="66">
                  <c:v>3.462592834528432</c:v>
                </c:pt>
                <c:pt idx="67">
                  <c:v>3.5302002927660756</c:v>
                </c:pt>
                <c:pt idx="68">
                  <c:v>3.5985735673567736</c:v>
                </c:pt>
                <c:pt idx="69">
                  <c:v>3.6677213330044998</c:v>
                </c:pt>
                <c:pt idx="70">
                  <c:v>3.7376523626750227</c:v>
                </c:pt>
                <c:pt idx="71">
                  <c:v>3.8083755287089538</c:v>
                </c:pt>
                <c:pt idx="72">
                  <c:v>3.8798998039474086</c:v>
                </c:pt>
                <c:pt idx="73">
                  <c:v>3.9522342628704128</c:v>
                </c:pt>
                <c:pt idx="74">
                  <c:v>4.02538808274820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3.0794494672693835</c:v>
                </c:pt>
                <c:pt idx="50">
                  <c:v>3.21132229156798</c:v>
                </c:pt>
                <c:pt idx="51">
                  <c:v>3.3478556975789155</c:v>
                </c:pt>
                <c:pt idx="52">
                  <c:v>3.4891798858344756</c:v>
                </c:pt>
                <c:pt idx="53">
                  <c:v>3.635427815886247</c:v>
                </c:pt>
                <c:pt idx="54">
                  <c:v>3.7867344955887692</c:v>
                </c:pt>
                <c:pt idx="55">
                  <c:v>3.9432355330584286</c:v>
                </c:pt>
                <c:pt idx="56">
                  <c:v>4.1050670167730177</c:v>
                </c:pt>
                <c:pt idx="57">
                  <c:v>4.2723655929018349</c:v>
                </c:pt>
                <c:pt idx="58">
                  <c:v>4.4453159541806802</c:v>
                </c:pt>
                <c:pt idx="59">
                  <c:v>4.6241090327508863</c:v>
                </c:pt>
                <c:pt idx="60">
                  <c:v>4.808942210942817</c:v>
                </c:pt>
                <c:pt idx="61">
                  <c:v>5.0000195391801938</c:v>
                </c:pt>
                <c:pt idx="62">
                  <c:v>5.1975519612457894</c:v>
                </c:pt>
                <c:pt idx="63">
                  <c:v>5.4017575471572021</c:v>
                </c:pt>
                <c:pt idx="64">
                  <c:v>5.6128617339097735</c:v>
                </c:pt>
                <c:pt idx="65">
                  <c:v>5.8310975743524409</c:v>
                </c:pt>
                <c:pt idx="66">
                  <c:v>6.056705994471268</c:v>
                </c:pt>
                <c:pt idx="67">
                  <c:v>6.2899360593646865</c:v>
                </c:pt>
                <c:pt idx="68">
                  <c:v>6.5310452482040837</c:v>
                </c:pt>
                <c:pt idx="69">
                  <c:v>6.7802997384832775</c:v>
                </c:pt>
                <c:pt idx="70">
                  <c:v>7.0379746998706834</c:v>
                </c:pt>
                <c:pt idx="71">
                  <c:v>7.3043545979885858</c:v>
                </c:pt>
                <c:pt idx="72">
                  <c:v>7.5797335084548623</c:v>
                </c:pt>
                <c:pt idx="73">
                  <c:v>7.8644154415338701</c:v>
                </c:pt>
                <c:pt idx="74">
                  <c:v>8.15871467775488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4.6623741944057073</c:v>
                </c:pt>
                <c:pt idx="50">
                  <c:v>5.0951804127134857</c:v>
                </c:pt>
                <c:pt idx="51">
                  <c:v>5.5619246281907948</c:v>
                </c:pt>
                <c:pt idx="52">
                  <c:v>6.1038058092316456</c:v>
                </c:pt>
                <c:pt idx="53">
                  <c:v>6.6834186483248654</c:v>
                </c:pt>
                <c:pt idx="54">
                  <c:v>7.2922327093914827</c:v>
                </c:pt>
                <c:pt idx="55">
                  <c:v>7.9503217659867698</c:v>
                </c:pt>
                <c:pt idx="56">
                  <c:v>8.6879756341080085</c:v>
                </c:pt>
                <c:pt idx="57">
                  <c:v>9.4808300884016781</c:v>
                </c:pt>
                <c:pt idx="58">
                  <c:v>10.352716850230852</c:v>
                </c:pt>
                <c:pt idx="59">
                  <c:v>11.275042468133078</c:v>
                </c:pt>
                <c:pt idx="60">
                  <c:v>12.276871622731198</c:v>
                </c:pt>
                <c:pt idx="61">
                  <c:v>13.331399342540369</c:v>
                </c:pt>
                <c:pt idx="62">
                  <c:v>14.429776372555629</c:v>
                </c:pt>
                <c:pt idx="63">
                  <c:v>15.580120090332073</c:v>
                </c:pt>
                <c:pt idx="64">
                  <c:v>16.731574399117211</c:v>
                </c:pt>
                <c:pt idx="65">
                  <c:v>17.907103983079637</c:v>
                </c:pt>
                <c:pt idx="66">
                  <c:v>19.061829330014675</c:v>
                </c:pt>
                <c:pt idx="67">
                  <c:v>20.221155523232969</c:v>
                </c:pt>
                <c:pt idx="68">
                  <c:v>21.360505501351998</c:v>
                </c:pt>
                <c:pt idx="69">
                  <c:v>22.49022997131155</c:v>
                </c:pt>
                <c:pt idx="70">
                  <c:v>23.592892753110707</c:v>
                </c:pt>
                <c:pt idx="71">
                  <c:v>24.658978384267183</c:v>
                </c:pt>
                <c:pt idx="72">
                  <c:v>25.702806440604313</c:v>
                </c:pt>
                <c:pt idx="73">
                  <c:v>26.7112778481399</c:v>
                </c:pt>
                <c:pt idx="74">
                  <c:v>27.681018464665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2</c:v>
                </c:pt>
                <c:pt idx="13">
                  <c:v>3</c:v>
                </c:pt>
                <c:pt idx="14">
                  <c:v>3</c:v>
                </c:pt>
                <c:pt idx="15">
                  <c:v>4</c:v>
                </c:pt>
                <c:pt idx="16">
                  <c:v>4</c:v>
                </c:pt>
                <c:pt idx="17">
                  <c:v>3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3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3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2</c:v>
                </c:pt>
                <c:pt idx="1">
                  <c:v>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4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3</c:v>
                </c:pt>
                <c:pt idx="13">
                  <c:v>4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2</c:v>
                </c:pt>
                <c:pt idx="19">
                  <c:v>5</c:v>
                </c:pt>
                <c:pt idx="20">
                  <c:v>4</c:v>
                </c:pt>
                <c:pt idx="21">
                  <c:v>3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3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4</c:v>
                </c:pt>
                <c:pt idx="34">
                  <c:v>4</c:v>
                </c:pt>
                <c:pt idx="35">
                  <c:v>5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7</c:v>
                </c:pt>
                <c:pt idx="41">
                  <c:v>7</c:v>
                </c:pt>
                <c:pt idx="42">
                  <c:v>8</c:v>
                </c:pt>
                <c:pt idx="43">
                  <c:v>10</c:v>
                </c:pt>
                <c:pt idx="44">
                  <c:v>9</c:v>
                </c:pt>
                <c:pt idx="45">
                  <c:v>5</c:v>
                </c:pt>
                <c:pt idx="46">
                  <c:v>5</c:v>
                </c:pt>
                <c:pt idx="47">
                  <c:v>5</c:v>
                </c:pt>
                <c:pt idx="48">
                  <c:v>5</c:v>
                </c:pt>
                <c:pt idx="49">
                  <c:v>11</c:v>
                </c:pt>
                <c:pt idx="50">
                  <c:v>14</c:v>
                </c:pt>
                <c:pt idx="51">
                  <c:v>15</c:v>
                </c:pt>
                <c:pt idx="52">
                  <c:v>14</c:v>
                </c:pt>
                <c:pt idx="53">
                  <c:v>14</c:v>
                </c:pt>
                <c:pt idx="54">
                  <c:v>16</c:v>
                </c:pt>
                <c:pt idx="55">
                  <c:v>20</c:v>
                </c:pt>
                <c:pt idx="56">
                  <c:v>21</c:v>
                </c:pt>
                <c:pt idx="57">
                  <c:v>19</c:v>
                </c:pt>
                <c:pt idx="58">
                  <c:v>18</c:v>
                </c:pt>
                <c:pt idx="59">
                  <c:v>19</c:v>
                </c:pt>
                <c:pt idx="60">
                  <c:v>17</c:v>
                </c:pt>
                <c:pt idx="61">
                  <c:v>24</c:v>
                </c:pt>
                <c:pt idx="62">
                  <c:v>22</c:v>
                </c:pt>
                <c:pt idx="63">
                  <c:v>24</c:v>
                </c:pt>
                <c:pt idx="64">
                  <c:v>25</c:v>
                </c:pt>
                <c:pt idx="65">
                  <c:v>23</c:v>
                </c:pt>
                <c:pt idx="66">
                  <c:v>27</c:v>
                </c:pt>
                <c:pt idx="67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.0521475028637113</c:v>
                </c:pt>
                <c:pt idx="50">
                  <c:v>6.0737630302971795</c:v>
                </c:pt>
                <c:pt idx="51">
                  <c:v>6.0920951649859196</c:v>
                </c:pt>
                <c:pt idx="52">
                  <c:v>6.1076667006440619</c:v>
                </c:pt>
                <c:pt idx="53">
                  <c:v>6.1209506071612632</c:v>
                </c:pt>
                <c:pt idx="54">
                  <c:v>6.1323143238191964</c:v>
                </c:pt>
                <c:pt idx="55">
                  <c:v>6.1420367658569877</c:v>
                </c:pt>
                <c:pt idx="56">
                  <c:v>6.1503522600746061</c:v>
                </c:pt>
                <c:pt idx="57">
                  <c:v>6.1574370425423668</c:v>
                </c:pt>
                <c:pt idx="58">
                  <c:v>6.1634732613529257</c:v>
                </c:pt>
                <c:pt idx="59">
                  <c:v>6.1686161062736762</c:v>
                </c:pt>
                <c:pt idx="60">
                  <c:v>6.1729977986392051</c:v>
                </c:pt>
                <c:pt idx="61">
                  <c:v>6.1767309907307402</c:v>
                </c:pt>
                <c:pt idx="62">
                  <c:v>6.1799116620398307</c:v>
                </c:pt>
                <c:pt idx="63">
                  <c:v>6.1826215868785264</c:v>
                </c:pt>
                <c:pt idx="64">
                  <c:v>6.1849304367777256</c:v>
                </c:pt>
                <c:pt idx="65">
                  <c:v>6.1868975717258676</c:v>
                </c:pt>
                <c:pt idx="66">
                  <c:v>6.1885735663002839</c:v>
                </c:pt>
                <c:pt idx="67">
                  <c:v>6.1900015099277041</c:v>
                </c:pt>
                <c:pt idx="68">
                  <c:v>6.1912181147032896</c:v>
                </c:pt>
                <c:pt idx="69">
                  <c:v>6.1922546592499765</c:v>
                </c:pt>
                <c:pt idx="70">
                  <c:v>6.1931377928845199</c:v>
                </c:pt>
                <c:pt idx="71">
                  <c:v>6.1938902207651703</c:v>
                </c:pt>
                <c:pt idx="72">
                  <c:v>6.1945312876359528</c:v>
                </c:pt>
                <c:pt idx="73">
                  <c:v>6.195077475175494</c:v>
                </c:pt>
                <c:pt idx="74">
                  <c:v>6.1955428257371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.4846542255685247</c:v>
                </c:pt>
                <c:pt idx="50">
                  <c:v>7.658591795512752</c:v>
                </c:pt>
                <c:pt idx="51">
                  <c:v>7.8339295580973545</c:v>
                </c:pt>
                <c:pt idx="52">
                  <c:v>8.0108725446715763</c:v>
                </c:pt>
                <c:pt idx="53">
                  <c:v>8.1895806184627133</c:v>
                </c:pt>
                <c:pt idx="54">
                  <c:v>8.3701809047380031</c:v>
                </c:pt>
                <c:pt idx="55">
                  <c:v>8.5527581823531005</c:v>
                </c:pt>
                <c:pt idx="56">
                  <c:v>8.7373750400036752</c:v>
                </c:pt>
                <c:pt idx="57">
                  <c:v>8.9240831256389139</c:v>
                </c:pt>
                <c:pt idx="58">
                  <c:v>9.1129061274232637</c:v>
                </c:pt>
                <c:pt idx="59">
                  <c:v>9.3038680018463555</c:v>
                </c:pt>
                <c:pt idx="60">
                  <c:v>9.4969929767624315</c:v>
                </c:pt>
                <c:pt idx="61">
                  <c:v>9.6923055544641983</c:v>
                </c:pt>
                <c:pt idx="62">
                  <c:v>9.8898305147914964</c:v>
                </c:pt>
                <c:pt idx="63">
                  <c:v>10.089592918275191</c:v>
                </c:pt>
                <c:pt idx="64">
                  <c:v>10.291618109316666</c:v>
                </c:pt>
                <c:pt idx="65">
                  <c:v>10.495931719403341</c:v>
                </c:pt>
                <c:pt idx="66">
                  <c:v>10.702559670360607</c:v>
                </c:pt>
                <c:pt idx="67">
                  <c:v>10.911528177640596</c:v>
                </c:pt>
                <c:pt idx="68">
                  <c:v>11.122863753648208</c:v>
                </c:pt>
                <c:pt idx="69">
                  <c:v>11.336593211104816</c:v>
                </c:pt>
                <c:pt idx="70">
                  <c:v>11.552743666450068</c:v>
                </c:pt>
                <c:pt idx="71">
                  <c:v>11.77134254328222</c:v>
                </c:pt>
                <c:pt idx="72">
                  <c:v>11.992417575837443</c:v>
                </c:pt>
                <c:pt idx="73">
                  <c:v>12.215996812508546</c:v>
                </c:pt>
                <c:pt idx="74">
                  <c:v>12.442108619403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.5182983533780927</c:v>
                </c:pt>
                <c:pt idx="50">
                  <c:v>9.9259052648464827</c:v>
                </c:pt>
                <c:pt idx="51">
                  <c:v>10.347917610698465</c:v>
                </c:pt>
                <c:pt idx="52">
                  <c:v>10.784737828942923</c:v>
                </c:pt>
                <c:pt idx="53">
                  <c:v>11.236776885466581</c:v>
                </c:pt>
                <c:pt idx="54">
                  <c:v>11.704452077274375</c:v>
                </c:pt>
                <c:pt idx="55">
                  <c:v>12.188182556726051</c:v>
                </c:pt>
                <c:pt idx="56">
                  <c:v>12.688388960934779</c:v>
                </c:pt>
                <c:pt idx="57">
                  <c:v>13.205493650787487</c:v>
                </c:pt>
                <c:pt idx="58">
                  <c:v>13.740067494740282</c:v>
                </c:pt>
                <c:pt idx="59">
                  <c:v>14.292700646684555</c:v>
                </c:pt>
                <c:pt idx="60">
                  <c:v>14.864003197459615</c:v>
                </c:pt>
                <c:pt idx="61">
                  <c:v>15.454605848375142</c:v>
                </c:pt>
                <c:pt idx="62">
                  <c:v>16.065160607486984</c:v>
                </c:pt>
                <c:pt idx="63">
                  <c:v>16.696341509394987</c:v>
                </c:pt>
                <c:pt idx="64">
                  <c:v>17.34884535935748</c:v>
                </c:pt>
                <c:pt idx="65">
                  <c:v>18.023392502543906</c:v>
                </c:pt>
                <c:pt idx="66">
                  <c:v>18.720727619274825</c:v>
                </c:pt>
                <c:pt idx="67">
                  <c:v>19.441620547127211</c:v>
                </c:pt>
                <c:pt idx="68">
                  <c:v>20.186867130812622</c:v>
                </c:pt>
                <c:pt idx="69">
                  <c:v>20.957290100766492</c:v>
                </c:pt>
                <c:pt idx="70">
                  <c:v>21.753739981418473</c:v>
                </c:pt>
                <c:pt idx="71">
                  <c:v>22.577096030146535</c:v>
                </c:pt>
                <c:pt idx="72">
                  <c:v>23.428267207951389</c:v>
                </c:pt>
                <c:pt idx="73">
                  <c:v>24.308193182922867</c:v>
                </c:pt>
                <c:pt idx="74">
                  <c:v>25.217845367606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.432975791425999</c:v>
                </c:pt>
                <c:pt idx="50">
                  <c:v>15.776534732106146</c:v>
                </c:pt>
                <c:pt idx="51">
                  <c:v>17.223560544085199</c:v>
                </c:pt>
                <c:pt idx="52">
                  <c:v>18.90561063361508</c:v>
                </c:pt>
                <c:pt idx="53">
                  <c:v>20.704242599994746</c:v>
                </c:pt>
                <c:pt idx="54">
                  <c:v>22.591995918658107</c:v>
                </c:pt>
                <c:pt idx="55">
                  <c:v>24.630618335366307</c:v>
                </c:pt>
                <c:pt idx="56">
                  <c:v>26.916244396570175</c:v>
                </c:pt>
                <c:pt idx="57">
                  <c:v>29.371737719567005</c:v>
                </c:pt>
                <c:pt idx="58">
                  <c:v>32.073279342827618</c:v>
                </c:pt>
                <c:pt idx="59">
                  <c:v>34.930907182483566</c:v>
                </c:pt>
                <c:pt idx="60">
                  <c:v>38.034594392329751</c:v>
                </c:pt>
                <c:pt idx="61">
                  <c:v>41.301240967276286</c:v>
                </c:pt>
                <c:pt idx="62">
                  <c:v>44.703566585763241</c:v>
                </c:pt>
                <c:pt idx="63">
                  <c:v>48.267614811933576</c:v>
                </c:pt>
                <c:pt idx="64">
                  <c:v>51.834616009328016</c:v>
                </c:pt>
                <c:pt idx="65">
                  <c:v>55.477372321070028</c:v>
                </c:pt>
                <c:pt idx="66">
                  <c:v>59.055193548113728</c:v>
                </c:pt>
                <c:pt idx="67">
                  <c:v>62.648654384458808</c:v>
                </c:pt>
                <c:pt idx="68">
                  <c:v>66.180128469633956</c:v>
                </c:pt>
                <c:pt idx="69">
                  <c:v>69.682121663364001</c:v>
                </c:pt>
                <c:pt idx="70">
                  <c:v>73.100533387479828</c:v>
                </c:pt>
                <c:pt idx="71">
                  <c:v>76.405781019536647</c:v>
                </c:pt>
                <c:pt idx="72">
                  <c:v>79.643002368715429</c:v>
                </c:pt>
                <c:pt idx="73">
                  <c:v>82.770700558628775</c:v>
                </c:pt>
                <c:pt idx="74">
                  <c:v>85.778549340172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2</c:v>
                </c:pt>
                <c:pt idx="13">
                  <c:v>3</c:v>
                </c:pt>
                <c:pt idx="14">
                  <c:v>5</c:v>
                </c:pt>
                <c:pt idx="15">
                  <c:v>4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2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1</c:v>
                </c:pt>
                <c:pt idx="42">
                  <c:v>1</c:v>
                </c:pt>
                <c:pt idx="43">
                  <c:v>0</c:v>
                </c:pt>
                <c:pt idx="44">
                  <c:v>1</c:v>
                </c:pt>
                <c:pt idx="45">
                  <c:v>1</c:v>
                </c:pt>
                <c:pt idx="46">
                  <c:v>2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5</c:v>
                </c:pt>
                <c:pt idx="52">
                  <c:v>4</c:v>
                </c:pt>
                <c:pt idx="53">
                  <c:v>5</c:v>
                </c:pt>
                <c:pt idx="54">
                  <c:v>5</c:v>
                </c:pt>
                <c:pt idx="55">
                  <c:v>6</c:v>
                </c:pt>
                <c:pt idx="56">
                  <c:v>5</c:v>
                </c:pt>
                <c:pt idx="57">
                  <c:v>6</c:v>
                </c:pt>
                <c:pt idx="58">
                  <c:v>7</c:v>
                </c:pt>
                <c:pt idx="59">
                  <c:v>8</c:v>
                </c:pt>
                <c:pt idx="60">
                  <c:v>8</c:v>
                </c:pt>
                <c:pt idx="61">
                  <c:v>10</c:v>
                </c:pt>
                <c:pt idx="62">
                  <c:v>10</c:v>
                </c:pt>
                <c:pt idx="63">
                  <c:v>7</c:v>
                </c:pt>
                <c:pt idx="64">
                  <c:v>5</c:v>
                </c:pt>
                <c:pt idx="65">
                  <c:v>4</c:v>
                </c:pt>
                <c:pt idx="66">
                  <c:v>4</c:v>
                </c:pt>
                <c:pt idx="6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1.7800433831952092</c:v>
                </c:pt>
                <c:pt idx="50">
                  <c:v>1.7864008912638762</c:v>
                </c:pt>
                <c:pt idx="51">
                  <c:v>1.7917926955840939</c:v>
                </c:pt>
                <c:pt idx="52">
                  <c:v>1.7963725590129593</c:v>
                </c:pt>
                <c:pt idx="53">
                  <c:v>1.8002795903415478</c:v>
                </c:pt>
                <c:pt idx="54">
                  <c:v>1.8036218599468226</c:v>
                </c:pt>
                <c:pt idx="55">
                  <c:v>1.8064814017226434</c:v>
                </c:pt>
                <c:pt idx="56">
                  <c:v>1.8089271353160605</c:v>
                </c:pt>
                <c:pt idx="57">
                  <c:v>1.8110108948654018</c:v>
                </c:pt>
                <c:pt idx="58">
                  <c:v>1.8127862533390957</c:v>
                </c:pt>
                <c:pt idx="59">
                  <c:v>1.8142988547863754</c:v>
                </c:pt>
                <c:pt idx="60">
                  <c:v>1.8155875878350602</c:v>
                </c:pt>
                <c:pt idx="61">
                  <c:v>1.8166855855090411</c:v>
                </c:pt>
                <c:pt idx="62">
                  <c:v>1.8176210770705383</c:v>
                </c:pt>
                <c:pt idx="63">
                  <c:v>1.8184181137878017</c:v>
                </c:pt>
                <c:pt idx="64">
                  <c:v>1.8190971872875663</c:v>
                </c:pt>
                <c:pt idx="65">
                  <c:v>1.819675756389961</c:v>
                </c:pt>
                <c:pt idx="66">
                  <c:v>1.8201686959706718</c:v>
                </c:pt>
                <c:pt idx="67">
                  <c:v>1.8205886793905013</c:v>
                </c:pt>
                <c:pt idx="68">
                  <c:v>1.820946504324497</c:v>
                </c:pt>
                <c:pt idx="69">
                  <c:v>1.8212513703676401</c:v>
                </c:pt>
                <c:pt idx="70">
                  <c:v>1.8215111155542705</c:v>
                </c:pt>
                <c:pt idx="71">
                  <c:v>1.8217324178721088</c:v>
                </c:pt>
                <c:pt idx="72">
                  <c:v>1.8219209669517507</c:v>
                </c:pt>
                <c:pt idx="73">
                  <c:v>1.8220816103457333</c:v>
                </c:pt>
                <c:pt idx="74">
                  <c:v>1.8222184781579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.2013688898730956</c:v>
                </c:pt>
                <c:pt idx="50">
                  <c:v>2.2525269986802212</c:v>
                </c:pt>
                <c:pt idx="51">
                  <c:v>2.3040969288521631</c:v>
                </c:pt>
                <c:pt idx="52">
                  <c:v>2.3561389837269342</c:v>
                </c:pt>
                <c:pt idx="53">
                  <c:v>2.408700181900798</c:v>
                </c:pt>
                <c:pt idx="54">
                  <c:v>2.4618179131582361</c:v>
                </c:pt>
                <c:pt idx="55">
                  <c:v>2.5155171124567941</c:v>
                </c:pt>
                <c:pt idx="56">
                  <c:v>2.5698161882363753</c:v>
                </c:pt>
                <c:pt idx="57">
                  <c:v>2.6247303310702685</c:v>
                </c:pt>
                <c:pt idx="58">
                  <c:v>2.6802665080656656</c:v>
                </c:pt>
                <c:pt idx="59">
                  <c:v>2.7364317652489278</c:v>
                </c:pt>
                <c:pt idx="60">
                  <c:v>2.7932332284595387</c:v>
                </c:pt>
                <c:pt idx="61">
                  <c:v>2.8506781042541758</c:v>
                </c:pt>
                <c:pt idx="62">
                  <c:v>2.9087736808210281</c:v>
                </c:pt>
                <c:pt idx="63">
                  <c:v>2.9675273289044677</c:v>
                </c:pt>
                <c:pt idx="64">
                  <c:v>3.0269465027401958</c:v>
                </c:pt>
                <c:pt idx="65">
                  <c:v>3.0870387410009825</c:v>
                </c:pt>
                <c:pt idx="66">
                  <c:v>3.1478116677531194</c:v>
                </c:pt>
                <c:pt idx="67">
                  <c:v>3.2092729934237045</c:v>
                </c:pt>
                <c:pt idx="68">
                  <c:v>3.2714305157788846</c:v>
                </c:pt>
                <c:pt idx="69">
                  <c:v>3.3342921209131813</c:v>
                </c:pt>
                <c:pt idx="70">
                  <c:v>3.3978657842500199</c:v>
                </c:pt>
                <c:pt idx="71">
                  <c:v>3.462159571553594</c:v>
                </c:pt>
                <c:pt idx="72">
                  <c:v>3.5271816399521891</c:v>
                </c:pt>
                <c:pt idx="73">
                  <c:v>3.5929402389731018</c:v>
                </c:pt>
                <c:pt idx="74">
                  <c:v>3.6594437115892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2.7994995156994391</c:v>
                </c:pt>
                <c:pt idx="50">
                  <c:v>2.9193839014254359</c:v>
                </c:pt>
                <c:pt idx="51">
                  <c:v>3.0435051796171955</c:v>
                </c:pt>
                <c:pt idx="52">
                  <c:v>3.1719817143949771</c:v>
                </c:pt>
                <c:pt idx="53">
                  <c:v>3.3049343780784057</c:v>
                </c:pt>
                <c:pt idx="54">
                  <c:v>3.4424859050806984</c:v>
                </c:pt>
                <c:pt idx="55">
                  <c:v>3.584759575507662</c:v>
                </c:pt>
                <c:pt idx="56">
                  <c:v>3.731879106157288</c:v>
                </c:pt>
                <c:pt idx="57">
                  <c:v>3.883968720819849</c:v>
                </c:pt>
                <c:pt idx="58">
                  <c:v>4.0411963219824356</c:v>
                </c:pt>
                <c:pt idx="59">
                  <c:v>4.2037354843189867</c:v>
                </c:pt>
                <c:pt idx="60">
                  <c:v>4.3717656463116512</c:v>
                </c:pt>
                <c:pt idx="61">
                  <c:v>4.5454723083456301</c:v>
                </c:pt>
                <c:pt idx="62">
                  <c:v>4.7250472374961721</c:v>
                </c:pt>
                <c:pt idx="63">
                  <c:v>4.9106886792338198</c:v>
                </c:pt>
                <c:pt idx="64">
                  <c:v>5.1026015762816117</c:v>
                </c:pt>
                <c:pt idx="65">
                  <c:v>5.3009977948658547</c:v>
                </c:pt>
                <c:pt idx="66">
                  <c:v>5.5060963586102423</c:v>
                </c:pt>
                <c:pt idx="67">
                  <c:v>5.7181236903315327</c:v>
                </c:pt>
                <c:pt idx="68">
                  <c:v>5.9373138620037116</c:v>
                </c:pt>
                <c:pt idx="69">
                  <c:v>6.1639088531666149</c:v>
                </c:pt>
                <c:pt idx="70">
                  <c:v>6.3981588180642568</c:v>
                </c:pt>
                <c:pt idx="71">
                  <c:v>6.6403223618078044</c:v>
                </c:pt>
                <c:pt idx="72">
                  <c:v>6.8906668258680552</c:v>
                </c:pt>
                <c:pt idx="73">
                  <c:v>7.1494685832126077</c:v>
                </c:pt>
                <c:pt idx="74">
                  <c:v>7.41701334341353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4.0652640512643696</c:v>
                </c:pt>
                <c:pt idx="50">
                  <c:v>4.4130944056796242</c:v>
                </c:pt>
                <c:pt idx="51">
                  <c:v>4.8030575771466069</c:v>
                </c:pt>
                <c:pt idx="52">
                  <c:v>5.2394129433802981</c:v>
                </c:pt>
                <c:pt idx="53">
                  <c:v>5.7104103952442387</c:v>
                </c:pt>
                <c:pt idx="54">
                  <c:v>6.2169080527023475</c:v>
                </c:pt>
                <c:pt idx="55">
                  <c:v>6.7795052001562404</c:v>
                </c:pt>
                <c:pt idx="56">
                  <c:v>7.4059601382371003</c:v>
                </c:pt>
                <c:pt idx="57">
                  <c:v>8.0885251905522182</c:v>
                </c:pt>
                <c:pt idx="58">
                  <c:v>8.8290256435615433</c:v>
                </c:pt>
                <c:pt idx="59">
                  <c:v>9.6139282583021171</c:v>
                </c:pt>
                <c:pt idx="60">
                  <c:v>10.468577634365971</c:v>
                </c:pt>
                <c:pt idx="61">
                  <c:v>11.37056078184359</c:v>
                </c:pt>
                <c:pt idx="62">
                  <c:v>12.311266544144093</c:v>
                </c:pt>
                <c:pt idx="63">
                  <c:v>13.290565636907896</c:v>
                </c:pt>
                <c:pt idx="64">
                  <c:v>14.27465250425147</c:v>
                </c:pt>
                <c:pt idx="65">
                  <c:v>15.270068544334297</c:v>
                </c:pt>
                <c:pt idx="66">
                  <c:v>16.251541391474902</c:v>
                </c:pt>
                <c:pt idx="67">
                  <c:v>17.226023684019427</c:v>
                </c:pt>
                <c:pt idx="68">
                  <c:v>18.18425221077047</c:v>
                </c:pt>
                <c:pt idx="69">
                  <c:v>19.131598676625064</c:v>
                </c:pt>
                <c:pt idx="70">
                  <c:v>20.053841589641706</c:v>
                </c:pt>
                <c:pt idx="71">
                  <c:v>20.943678673895306</c:v>
                </c:pt>
                <c:pt idx="72">
                  <c:v>21.807218971624806</c:v>
                </c:pt>
                <c:pt idx="73">
                  <c:v>22.640498766330929</c:v>
                </c:pt>
                <c:pt idx="74">
                  <c:v>23.4396401789382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2</c:v>
                </c:pt>
                <c:pt idx="36">
                  <c:v>2</c:v>
                </c:pt>
                <c:pt idx="37">
                  <c:v>4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2</c:v>
                </c:pt>
                <c:pt idx="45">
                  <c:v>3</c:v>
                </c:pt>
                <c:pt idx="46">
                  <c:v>3</c:v>
                </c:pt>
                <c:pt idx="47">
                  <c:v>4</c:v>
                </c:pt>
                <c:pt idx="48">
                  <c:v>5</c:v>
                </c:pt>
                <c:pt idx="49">
                  <c:v>5</c:v>
                </c:pt>
                <c:pt idx="50">
                  <c:v>5</c:v>
                </c:pt>
                <c:pt idx="51">
                  <c:v>5</c:v>
                </c:pt>
                <c:pt idx="52">
                  <c:v>5</c:v>
                </c:pt>
                <c:pt idx="53">
                  <c:v>5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6</c:v>
                </c:pt>
                <c:pt idx="59">
                  <c:v>9</c:v>
                </c:pt>
                <c:pt idx="60">
                  <c:v>10</c:v>
                </c:pt>
                <c:pt idx="61">
                  <c:v>14</c:v>
                </c:pt>
                <c:pt idx="62">
                  <c:v>16</c:v>
                </c:pt>
                <c:pt idx="63">
                  <c:v>16</c:v>
                </c:pt>
                <c:pt idx="64">
                  <c:v>20</c:v>
                </c:pt>
                <c:pt idx="65">
                  <c:v>18</c:v>
                </c:pt>
                <c:pt idx="66">
                  <c:v>20</c:v>
                </c:pt>
                <c:pt idx="67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.2250542289940114</c:v>
                </c:pt>
                <c:pt idx="50">
                  <c:v>2.2330011140798454</c:v>
                </c:pt>
                <c:pt idx="51">
                  <c:v>2.2397408694801175</c:v>
                </c:pt>
                <c:pt idx="52">
                  <c:v>2.2454656987661989</c:v>
                </c:pt>
                <c:pt idx="53">
                  <c:v>2.2503494879269348</c:v>
                </c:pt>
                <c:pt idx="54">
                  <c:v>2.254527324933528</c:v>
                </c:pt>
                <c:pt idx="55">
                  <c:v>2.258101752153304</c:v>
                </c:pt>
                <c:pt idx="56">
                  <c:v>2.2611589191450756</c:v>
                </c:pt>
                <c:pt idx="57">
                  <c:v>2.2637636185817525</c:v>
                </c:pt>
                <c:pt idx="58">
                  <c:v>2.2659828166738696</c:v>
                </c:pt>
                <c:pt idx="59">
                  <c:v>2.2678735684829694</c:v>
                </c:pt>
                <c:pt idx="60">
                  <c:v>2.2694844847938254</c:v>
                </c:pt>
                <c:pt idx="61">
                  <c:v>2.2708569818863014</c:v>
                </c:pt>
                <c:pt idx="62">
                  <c:v>2.2720263463381727</c:v>
                </c:pt>
                <c:pt idx="63">
                  <c:v>2.2730226422347521</c:v>
                </c:pt>
                <c:pt idx="64">
                  <c:v>2.2738714841094581</c:v>
                </c:pt>
                <c:pt idx="65">
                  <c:v>2.2745946954874512</c:v>
                </c:pt>
                <c:pt idx="66">
                  <c:v>2.27521086996334</c:v>
                </c:pt>
                <c:pt idx="67">
                  <c:v>2.2757358492381266</c:v>
                </c:pt>
                <c:pt idx="68">
                  <c:v>2.2761831304056215</c:v>
                </c:pt>
                <c:pt idx="69">
                  <c:v>2.27656421295955</c:v>
                </c:pt>
                <c:pt idx="70">
                  <c:v>2.276888894442838</c:v>
                </c:pt>
                <c:pt idx="71">
                  <c:v>2.2771655223401361</c:v>
                </c:pt>
                <c:pt idx="72">
                  <c:v>2.2774012086896884</c:v>
                </c:pt>
                <c:pt idx="73">
                  <c:v>2.2776020129321668</c:v>
                </c:pt>
                <c:pt idx="74">
                  <c:v>2.27777309769746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2.7517111123413693</c:v>
                </c:pt>
                <c:pt idx="50">
                  <c:v>2.8156587483502764</c:v>
                </c:pt>
                <c:pt idx="51">
                  <c:v>2.8801211610652038</c:v>
                </c:pt>
                <c:pt idx="52">
                  <c:v>2.9451737296586677</c:v>
                </c:pt>
                <c:pt idx="53">
                  <c:v>3.0108752273759976</c:v>
                </c:pt>
                <c:pt idx="54">
                  <c:v>3.0772723914477953</c:v>
                </c:pt>
                <c:pt idx="55">
                  <c:v>3.1443963905709928</c:v>
                </c:pt>
                <c:pt idx="56">
                  <c:v>3.2122702352954691</c:v>
                </c:pt>
                <c:pt idx="57">
                  <c:v>3.2809129138378359</c:v>
                </c:pt>
                <c:pt idx="58">
                  <c:v>3.350333135082082</c:v>
                </c:pt>
                <c:pt idx="59">
                  <c:v>3.42053970656116</c:v>
                </c:pt>
                <c:pt idx="60">
                  <c:v>3.4915415355744233</c:v>
                </c:pt>
                <c:pt idx="61">
                  <c:v>3.5633476303177196</c:v>
                </c:pt>
                <c:pt idx="62">
                  <c:v>3.6359671010262851</c:v>
                </c:pt>
                <c:pt idx="63">
                  <c:v>3.7094091611305844</c:v>
                </c:pt>
                <c:pt idx="64">
                  <c:v>3.7836831284252446</c:v>
                </c:pt>
                <c:pt idx="65">
                  <c:v>3.8587984262512283</c:v>
                </c:pt>
                <c:pt idx="66">
                  <c:v>3.9347645846913997</c:v>
                </c:pt>
                <c:pt idx="67">
                  <c:v>4.0115912417796302</c:v>
                </c:pt>
                <c:pt idx="68">
                  <c:v>4.0892881447236054</c:v>
                </c:pt>
                <c:pt idx="69">
                  <c:v>4.1678651511414762</c:v>
                </c:pt>
                <c:pt idx="70">
                  <c:v>4.2473322303125247</c:v>
                </c:pt>
                <c:pt idx="71">
                  <c:v>4.3276994644419924</c:v>
                </c:pt>
                <c:pt idx="72">
                  <c:v>4.4089770499402361</c:v>
                </c:pt>
                <c:pt idx="73">
                  <c:v>4.4911752987163771</c:v>
                </c:pt>
                <c:pt idx="74">
                  <c:v>4.5743046394866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3.4993743946242986</c:v>
                </c:pt>
                <c:pt idx="50">
                  <c:v>3.6492298767817948</c:v>
                </c:pt>
                <c:pt idx="51">
                  <c:v>3.8043814745214943</c:v>
                </c:pt>
                <c:pt idx="52">
                  <c:v>3.9649771429937215</c:v>
                </c:pt>
                <c:pt idx="53">
                  <c:v>4.1311679725980071</c:v>
                </c:pt>
                <c:pt idx="54">
                  <c:v>4.3031073813508733</c:v>
                </c:pt>
                <c:pt idx="55">
                  <c:v>4.4809494693845773</c:v>
                </c:pt>
                <c:pt idx="56">
                  <c:v>4.6648488826966101</c:v>
                </c:pt>
                <c:pt idx="57">
                  <c:v>4.8549609010248114</c:v>
                </c:pt>
                <c:pt idx="58">
                  <c:v>5.0514954024780447</c:v>
                </c:pt>
                <c:pt idx="59">
                  <c:v>5.2546693553987334</c:v>
                </c:pt>
                <c:pt idx="60">
                  <c:v>5.4647070578895649</c:v>
                </c:pt>
                <c:pt idx="61">
                  <c:v>5.6818403854320376</c:v>
                </c:pt>
                <c:pt idx="62">
                  <c:v>5.9063090468702146</c:v>
                </c:pt>
                <c:pt idx="63">
                  <c:v>6.1383608490422743</c:v>
                </c:pt>
                <c:pt idx="64">
                  <c:v>6.3782519703520153</c:v>
                </c:pt>
                <c:pt idx="65">
                  <c:v>6.626247243582319</c:v>
                </c:pt>
                <c:pt idx="66">
                  <c:v>6.8826204482628039</c:v>
                </c:pt>
                <c:pt idx="67">
                  <c:v>7.1476546129144154</c:v>
                </c:pt>
                <c:pt idx="68">
                  <c:v>7.4216423275046397</c:v>
                </c:pt>
                <c:pt idx="69">
                  <c:v>7.7048860664582692</c:v>
                </c:pt>
                <c:pt idx="70">
                  <c:v>7.997698522580321</c:v>
                </c:pt>
                <c:pt idx="71">
                  <c:v>8.3004029522597556</c:v>
                </c:pt>
                <c:pt idx="72">
                  <c:v>8.6133335323350693</c:v>
                </c:pt>
                <c:pt idx="73">
                  <c:v>8.9368357290157601</c:v>
                </c:pt>
                <c:pt idx="74">
                  <c:v>9.27126667926691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5.4824109416514855</c:v>
                </c:pt>
                <c:pt idx="50">
                  <c:v>6.0227631667301917</c:v>
                </c:pt>
                <c:pt idx="51">
                  <c:v>6.5896850089913901</c:v>
                </c:pt>
                <c:pt idx="52">
                  <c:v>7.2652952780430651</c:v>
                </c:pt>
                <c:pt idx="53">
                  <c:v>7.983420228915568</c:v>
                </c:pt>
                <c:pt idx="54">
                  <c:v>8.7252062613224481</c:v>
                </c:pt>
                <c:pt idx="55">
                  <c:v>9.5109648505203008</c:v>
                </c:pt>
                <c:pt idx="56">
                  <c:v>10.396149877101992</c:v>
                </c:pt>
                <c:pt idx="57">
                  <c:v>11.337758713432123</c:v>
                </c:pt>
                <c:pt idx="58">
                  <c:v>12.383972452967694</c:v>
                </c:pt>
                <c:pt idx="59">
                  <c:v>13.489046567006207</c:v>
                </c:pt>
                <c:pt idx="60">
                  <c:v>14.687155373164504</c:v>
                </c:pt>
                <c:pt idx="61">
                  <c:v>15.945759373064737</c:v>
                </c:pt>
                <c:pt idx="62">
                  <c:v>17.255404935015342</c:v>
                </c:pt>
                <c:pt idx="63">
                  <c:v>18.633301814224929</c:v>
                </c:pt>
                <c:pt idx="64">
                  <c:v>20.008442699971145</c:v>
                </c:pt>
                <c:pt idx="65">
                  <c:v>21.422169607740535</c:v>
                </c:pt>
                <c:pt idx="66">
                  <c:v>22.806970047589299</c:v>
                </c:pt>
                <c:pt idx="67">
                  <c:v>24.20888126982646</c:v>
                </c:pt>
                <c:pt idx="68">
                  <c:v>25.586064774722509</c:v>
                </c:pt>
                <c:pt idx="69">
                  <c:v>26.954577140712715</c:v>
                </c:pt>
                <c:pt idx="70">
                  <c:v>28.29287148065356</c:v>
                </c:pt>
                <c:pt idx="71">
                  <c:v>29.588701028006611</c:v>
                </c:pt>
                <c:pt idx="72">
                  <c:v>30.865685433035068</c:v>
                </c:pt>
                <c:pt idx="73">
                  <c:v>32.100490437053409</c:v>
                </c:pt>
                <c:pt idx="74">
                  <c:v>33.2901437234808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545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656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16683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6124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40449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5086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137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4749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15245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032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160263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10" Type="http://schemas.openxmlformats.org/officeDocument/2006/relationships/chart" Target="../charts/chart9.xml"/><Relationship Id="rId4" Type="http://schemas.openxmlformats.org/officeDocument/2006/relationships/tags" Target="../tags/tag71.xml"/><Relationship Id="rId9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10" Type="http://schemas.openxmlformats.org/officeDocument/2006/relationships/chart" Target="../charts/chart10.xml"/><Relationship Id="rId4" Type="http://schemas.openxmlformats.org/officeDocument/2006/relationships/tags" Target="../tags/tag79.xml"/><Relationship Id="rId9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chart" Target="../charts/chart11.xml"/><Relationship Id="rId5" Type="http://schemas.openxmlformats.org/officeDocument/2006/relationships/tags" Target="../tags/tag88.xml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10" Type="http://schemas.openxmlformats.org/officeDocument/2006/relationships/chart" Target="../charts/chart12.xml"/><Relationship Id="rId4" Type="http://schemas.openxmlformats.org/officeDocument/2006/relationships/tags" Target="../tags/tag96.xml"/><Relationship Id="rId9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10" Type="http://schemas.openxmlformats.org/officeDocument/2006/relationships/chart" Target="../charts/chart13.xml"/><Relationship Id="rId4" Type="http://schemas.openxmlformats.org/officeDocument/2006/relationships/tags" Target="../tags/tag104.xml"/><Relationship Id="rId9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10" Type="http://schemas.openxmlformats.org/officeDocument/2006/relationships/chart" Target="../charts/chart14.xml"/><Relationship Id="rId4" Type="http://schemas.openxmlformats.org/officeDocument/2006/relationships/tags" Target="../tags/tag112.xml"/><Relationship Id="rId9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10" Type="http://schemas.openxmlformats.org/officeDocument/2006/relationships/chart" Target="../charts/chart15.xml"/><Relationship Id="rId4" Type="http://schemas.openxmlformats.org/officeDocument/2006/relationships/tags" Target="../tags/tag120.xml"/><Relationship Id="rId9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Relationship Id="rId9" Type="http://schemas.openxmlformats.org/officeDocument/2006/relationships/chart" Target="../charts/chart1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10" Type="http://schemas.openxmlformats.org/officeDocument/2006/relationships/chart" Target="../charts/chart17.xml"/><Relationship Id="rId4" Type="http://schemas.openxmlformats.org/officeDocument/2006/relationships/tags" Target="../tags/tag136.xml"/><Relationship Id="rId9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5" Type="http://schemas.openxmlformats.org/officeDocument/2006/relationships/tags" Target="../tags/tag145.xml"/><Relationship Id="rId10" Type="http://schemas.openxmlformats.org/officeDocument/2006/relationships/chart" Target="../charts/chart18.xml"/><Relationship Id="rId4" Type="http://schemas.openxmlformats.org/officeDocument/2006/relationships/tags" Target="../tags/tag144.xml"/><Relationship Id="rId9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5" Type="http://schemas.openxmlformats.org/officeDocument/2006/relationships/tags" Target="../tags/tag153.xml"/><Relationship Id="rId10" Type="http://schemas.openxmlformats.org/officeDocument/2006/relationships/chart" Target="../charts/chart19.xml"/><Relationship Id="rId4" Type="http://schemas.openxmlformats.org/officeDocument/2006/relationships/tags" Target="../tags/tag152.xml"/><Relationship Id="rId9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10" Type="http://schemas.openxmlformats.org/officeDocument/2006/relationships/chart" Target="../charts/chart20.xml"/><Relationship Id="rId4" Type="http://schemas.openxmlformats.org/officeDocument/2006/relationships/tags" Target="../tags/tag160.xml"/><Relationship Id="rId9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tags" Target="../tags/tag170.xml"/><Relationship Id="rId11" Type="http://schemas.openxmlformats.org/officeDocument/2006/relationships/chart" Target="../charts/chart21.xml"/><Relationship Id="rId5" Type="http://schemas.openxmlformats.org/officeDocument/2006/relationships/tags" Target="../tags/tag169.xml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168.xml"/><Relationship Id="rId9" Type="http://schemas.openxmlformats.org/officeDocument/2006/relationships/tags" Target="../tags/tag17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5" Type="http://schemas.openxmlformats.org/officeDocument/2006/relationships/tags" Target="../tags/tag178.xml"/><Relationship Id="rId10" Type="http://schemas.openxmlformats.org/officeDocument/2006/relationships/chart" Target="../charts/chart22.xml"/><Relationship Id="rId4" Type="http://schemas.openxmlformats.org/officeDocument/2006/relationships/tags" Target="../tags/tag177.xml"/><Relationship Id="rId9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5" Type="http://schemas.openxmlformats.org/officeDocument/2006/relationships/tags" Target="../tags/tag186.xml"/><Relationship Id="rId10" Type="http://schemas.openxmlformats.org/officeDocument/2006/relationships/chart" Target="../charts/chart23.xml"/><Relationship Id="rId4" Type="http://schemas.openxmlformats.org/officeDocument/2006/relationships/tags" Target="../tags/tag185.xml"/><Relationship Id="rId9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3" Type="http://schemas.openxmlformats.org/officeDocument/2006/relationships/tags" Target="../tags/tag192.xml"/><Relationship Id="rId7" Type="http://schemas.openxmlformats.org/officeDocument/2006/relationships/tags" Target="../tags/tag196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tags" Target="../tags/tag195.xml"/><Relationship Id="rId5" Type="http://schemas.openxmlformats.org/officeDocument/2006/relationships/tags" Target="../tags/tag194.xml"/><Relationship Id="rId10" Type="http://schemas.openxmlformats.org/officeDocument/2006/relationships/chart" Target="../charts/chart24.xml"/><Relationship Id="rId4" Type="http://schemas.openxmlformats.org/officeDocument/2006/relationships/tags" Target="../tags/tag193.xml"/><Relationship Id="rId9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05.xml"/><Relationship Id="rId3" Type="http://schemas.openxmlformats.org/officeDocument/2006/relationships/tags" Target="../tags/tag200.xml"/><Relationship Id="rId7" Type="http://schemas.openxmlformats.org/officeDocument/2006/relationships/tags" Target="../tags/tag204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5" Type="http://schemas.openxmlformats.org/officeDocument/2006/relationships/tags" Target="../tags/tag202.xml"/><Relationship Id="rId10" Type="http://schemas.openxmlformats.org/officeDocument/2006/relationships/chart" Target="../charts/chart25.xml"/><Relationship Id="rId4" Type="http://schemas.openxmlformats.org/officeDocument/2006/relationships/tags" Target="../tags/tag201.xml"/><Relationship Id="rId9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11" Type="http://schemas.openxmlformats.org/officeDocument/2006/relationships/chart" Target="../charts/chart26.xml"/><Relationship Id="rId5" Type="http://schemas.openxmlformats.org/officeDocument/2006/relationships/tags" Target="../tags/tag210.xml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209.xml"/><Relationship Id="rId9" Type="http://schemas.openxmlformats.org/officeDocument/2006/relationships/tags" Target="../tags/tag21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5" Type="http://schemas.openxmlformats.org/officeDocument/2006/relationships/tags" Target="../tags/tag219.xml"/><Relationship Id="rId10" Type="http://schemas.openxmlformats.org/officeDocument/2006/relationships/chart" Target="../charts/chart27.xml"/><Relationship Id="rId4" Type="http://schemas.openxmlformats.org/officeDocument/2006/relationships/tags" Target="../tags/tag218.xml"/><Relationship Id="rId9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chart" Target="../charts/chart2.xml"/><Relationship Id="rId4" Type="http://schemas.openxmlformats.org/officeDocument/2006/relationships/tags" Target="../tags/tag14.xml"/><Relationship Id="rId9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5" Type="http://schemas.openxmlformats.org/officeDocument/2006/relationships/tags" Target="../tags/tag227.xml"/><Relationship Id="rId10" Type="http://schemas.openxmlformats.org/officeDocument/2006/relationships/chart" Target="../charts/chart28.xml"/><Relationship Id="rId4" Type="http://schemas.openxmlformats.org/officeDocument/2006/relationships/tags" Target="../tags/tag226.xml"/><Relationship Id="rId9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5" Type="http://schemas.openxmlformats.org/officeDocument/2006/relationships/tags" Target="../tags/tag235.xml"/><Relationship Id="rId10" Type="http://schemas.openxmlformats.org/officeDocument/2006/relationships/chart" Target="../charts/chart29.xml"/><Relationship Id="rId4" Type="http://schemas.openxmlformats.org/officeDocument/2006/relationships/tags" Target="../tags/tag234.xml"/><Relationship Id="rId9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tags" Target="../tags/tag244.xml"/><Relationship Id="rId5" Type="http://schemas.openxmlformats.org/officeDocument/2006/relationships/tags" Target="../tags/tag243.xml"/><Relationship Id="rId10" Type="http://schemas.openxmlformats.org/officeDocument/2006/relationships/chart" Target="../charts/chart30.xml"/><Relationship Id="rId4" Type="http://schemas.openxmlformats.org/officeDocument/2006/relationships/tags" Target="../tags/tag242.xml"/><Relationship Id="rId9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10" Type="http://schemas.openxmlformats.org/officeDocument/2006/relationships/chart" Target="../charts/chart3.xml"/><Relationship Id="rId4" Type="http://schemas.openxmlformats.org/officeDocument/2006/relationships/tags" Target="../tags/tag22.xml"/><Relationship Id="rId9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chart" Target="../charts/chart4.xml"/><Relationship Id="rId4" Type="http://schemas.openxmlformats.org/officeDocument/2006/relationships/tags" Target="../tags/tag30.xml"/><Relationship Id="rId9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chart" Target="../charts/chart5.xml"/><Relationship Id="rId4" Type="http://schemas.openxmlformats.org/officeDocument/2006/relationships/tags" Target="../tags/tag38.xml"/><Relationship Id="rId9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chart" Target="../charts/chart6.xml"/><Relationship Id="rId5" Type="http://schemas.openxmlformats.org/officeDocument/2006/relationships/tags" Target="../tags/tag47.xml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chart" Target="../charts/chart7.xml"/><Relationship Id="rId4" Type="http://schemas.openxmlformats.org/officeDocument/2006/relationships/tags" Target="../tags/tag55.xml"/><Relationship Id="rId9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10" Type="http://schemas.openxmlformats.org/officeDocument/2006/relationships/chart" Target="../charts/chart8.xml"/><Relationship Id="rId4" Type="http://schemas.openxmlformats.org/officeDocument/2006/relationships/tags" Target="../tags/tag63.xml"/><Relationship Id="rId9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</a:t>
            </a:r>
          </a:p>
        </p:txBody>
      </p:sp>
    </p:spTree>
    <p:extLst>
      <p:ext uri="{BB962C8B-B14F-4D97-AF65-F5344CB8AC3E}">
        <p14:creationId xmlns:p14="http://schemas.microsoft.com/office/powerpoint/2010/main" val="3827804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138685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4DB589A-324E-478D-A9A4-179B7ABCC38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616442C-99D1-42A6-8BAF-D6B9BBA4A98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613E88-2178-4FD9-AE83-7EB251B47F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C9F4CC7C-C64B-4FCB-B1DB-016432A98C9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0CD1693-70D4-494B-AFAC-BED120BE852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1C7363C-63F2-42B0-BDFC-3203EDAF4390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9A9D7A7-9DA7-4F58-B5D2-F003B17CA5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02B5D812-17AE-4804-8E53-4C5160627B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111478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6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EB5CF1D2-F332-4C7C-9E41-9B0CE0A41A19}"/>
              </a:ext>
            </a:extLst>
          </p:cNvPr>
          <p:cNvSpPr txBox="1"/>
          <p:nvPr/>
        </p:nvSpPr>
        <p:spPr>
          <a:xfrm>
            <a:off x="1197108" y="2822167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5900196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284998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4DB589A-324E-478D-A9A4-179B7ABCC38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616442C-99D1-42A6-8BAF-D6B9BBA4A98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613E88-2178-4FD9-AE83-7EB251B47F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C9F4CC7C-C64B-4FCB-B1DB-016432A98C9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0CD1693-70D4-494B-AFAC-BED120BE852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1C7363C-63F2-42B0-BDFC-3203EDAF4390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9A9D7A7-9DA7-4F58-B5D2-F003B17CA5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B01882E2-169B-491D-B105-D5AF91506A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311592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5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7F45B988-D829-4F7F-B1D8-31979347F72D}"/>
              </a:ext>
            </a:extLst>
          </p:cNvPr>
          <p:cNvSpPr txBox="1"/>
          <p:nvPr/>
        </p:nvSpPr>
        <p:spPr>
          <a:xfrm>
            <a:off x="1197108" y="2822167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713379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965678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293323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4DB589A-324E-478D-A9A4-179B7ABCC38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203299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616442C-99D1-42A6-8BAF-D6B9BBA4A98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613E88-2178-4FD9-AE83-7EB251B47F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C9F4CC7C-C64B-4FCB-B1DB-016432A98C9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0CD1693-70D4-494B-AFAC-BED120BE852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1C7363C-63F2-42B0-BDFC-3203EDAF4390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9A9D7A7-9DA7-4F58-B5D2-F003B17CA5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9" name="Tabulka 6">
            <a:extLst>
              <a:ext uri="{FF2B5EF4-FFF2-40B4-BE49-F238E27FC236}">
                <a16:creationId xmlns:a16="http://schemas.microsoft.com/office/drawing/2014/main" id="{CD1E4B69-9D20-4F43-93D4-EAFE6703FD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313395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5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ovéPole 27">
            <a:extLst>
              <a:ext uri="{FF2B5EF4-FFF2-40B4-BE49-F238E27FC236}">
                <a16:creationId xmlns:a16="http://schemas.microsoft.com/office/drawing/2014/main" id="{A550157A-3AAE-486B-BF0D-50D767441B1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078576" y="5288483"/>
            <a:ext cx="193686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ízkému počtu pacientů na JIP v týdnu, který předchází počátku predikcí (20.10.2021), nebylo možné predikce vytvořit.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D1435551-29F1-4B25-A943-F8D89B186570}"/>
              </a:ext>
            </a:extLst>
          </p:cNvPr>
          <p:cNvSpPr txBox="1"/>
          <p:nvPr/>
        </p:nvSpPr>
        <p:spPr>
          <a:xfrm>
            <a:off x="1197108" y="2822167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4796974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5073714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027C411A-AB46-4A71-AAC8-8A5854A2CBC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9EA9623C-020C-493F-9A3F-4DADDD8572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2E4AF17D-7412-424C-9335-844B32B2D5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5CDEFAAF-5C8E-49C3-A133-C5FC0C02A6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CE5C7E0D-7071-4421-970D-1A73AFFA9E93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C257FB3D-F8D9-47A8-A15B-08DE1D4AEDC1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4A0EB764-B073-42CA-BC50-21E4401C1C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1A06DDE4-A11B-4B3E-A29D-E0D9122BE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070902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6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671608BC-7432-4A10-AFD3-27495222A0F7}"/>
              </a:ext>
            </a:extLst>
          </p:cNvPr>
          <p:cNvSpPr txBox="1"/>
          <p:nvPr/>
        </p:nvSpPr>
        <p:spPr>
          <a:xfrm>
            <a:off x="1197108" y="2822167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638511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08524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65D79A6-8FDE-44B8-9992-6142FB17210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395F7B3-B144-4DF7-85A0-86005212E62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3C75F22-068C-4DB5-8020-5CCA6D98A03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6185BB37-A5D2-449F-B66C-1A71D1A0B4F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813A76A3-A384-433D-9A51-26EDBA5EF68A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41441BE7-C142-40A7-926D-AF048A4CA2A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624D79B0-732E-4495-812D-4B31380019C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3BE61015-564C-46F6-BCFA-0716C9FA85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546159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7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C9A94893-0348-45F9-AFE3-86CF733D315E}"/>
              </a:ext>
            </a:extLst>
          </p:cNvPr>
          <p:cNvSpPr txBox="1"/>
          <p:nvPr/>
        </p:nvSpPr>
        <p:spPr>
          <a:xfrm>
            <a:off x="1197108" y="2822167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87397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926971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64D211D-ED10-489E-AD8E-948A63D1490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C754A858-17AD-455F-B96D-5309BD71E61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35580AE-C7C7-4680-BFAE-73F14A0F47C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7BA96C2-3BD9-4F71-8FB0-CB035F5C396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EB89BF40-37F9-4C2A-91E6-08584D4085D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24829944-5B93-42D9-AB23-97176AF74AEC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EDAC351E-E0B7-490E-BD98-C484940A45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867DDA7E-6265-4C64-9209-0433471B88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669319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6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728D20D1-D9E2-458C-A1B2-745D42D3134C}"/>
              </a:ext>
            </a:extLst>
          </p:cNvPr>
          <p:cNvSpPr txBox="1"/>
          <p:nvPr/>
        </p:nvSpPr>
        <p:spPr>
          <a:xfrm>
            <a:off x="1197108" y="2822167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236663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8693389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E53E0BC-F836-4FBF-AC9E-AED47A4C45D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6F479B0B-B50E-4C21-9B04-E14EADD087B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84F7B7F4-EB1D-47B1-902D-E81D7BB471A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48DB6D60-9ADC-4197-BB65-8985BB0B675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6B88871F-FCC5-4989-8C51-17D4BD26040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B9D81FF5-963C-4A8E-9B3A-E4C644CC8B2C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655F86A5-5895-4B17-9CFB-16E8E51670C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D08D5803-BA27-4B42-8484-34D2AD62AE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448141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6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49F9ACE5-BE77-4366-9F04-F810CEDD1653}"/>
              </a:ext>
            </a:extLst>
          </p:cNvPr>
          <p:cNvSpPr txBox="1"/>
          <p:nvPr/>
        </p:nvSpPr>
        <p:spPr>
          <a:xfrm>
            <a:off x="1197108" y="2822167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123941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1564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647509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64D84085-13BA-4B0F-AC9D-44A530D52BB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EC371558-578E-4DB9-B0F5-CA2AADCC73D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623BB0A-E821-4711-9779-143EDFA2451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557B558-F312-4B46-AC73-5451D795A2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FAD1D1A4-66E8-4E6C-B367-17B0E5125F7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7" name="TextovéPole 28">
              <a:extLst>
                <a:ext uri="{FF2B5EF4-FFF2-40B4-BE49-F238E27FC236}">
                  <a16:creationId xmlns:a16="http://schemas.microsoft.com/office/drawing/2014/main" id="{7E1F0B2F-5D41-402B-9887-DE32402DBDBA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B019A762-F1C4-4A53-86B3-0427F143D5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1250378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127604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5F3E866A-CA02-42C4-9BD7-19A264D349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F1FA6E30-4D1B-405F-A628-6F224D6298C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448092B-15BE-47B9-8637-587A568F5D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DAE37155-8750-4D8A-B710-54C99E6FDAD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39E29EB8-D3FA-4C92-A88C-40573E723321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459094CE-B07A-4CFE-AA8E-DBAC0E2CAE9A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7B8CA49-58AD-4CA9-9744-51FD2B5970F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29695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454827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F4D3CE41-9826-4EF5-AC14-D66285966B0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93160" y="2857867"/>
            <a:ext cx="20553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982C967-38E9-4959-8A25-252E58E3EFF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6B2E011-5906-41C9-A178-4347F6CF90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DAAB671-042B-4AB1-9C51-FC0B4B0112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302E574-19AF-4F44-9D4F-F5F97B464B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308A78F6-14EF-42C0-B719-4A620555AFB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45AD4C16-E549-4E7E-8C7E-306B9664500F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27270502-7CC0-4A8E-BC3B-48F51D4152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7C14F744-3AE2-46CA-8133-A5B6D85D54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3972700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19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D04959B4-AAE2-4447-801F-502B4595B07B}"/>
              </a:ext>
            </a:extLst>
          </p:cNvPr>
          <p:cNvSpPr txBox="1"/>
          <p:nvPr/>
        </p:nvSpPr>
        <p:spPr>
          <a:xfrm>
            <a:off x="1197108" y="2822167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7166201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100937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5F3E866A-CA02-42C4-9BD7-19A264D349B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F1FA6E30-4D1B-405F-A628-6F224D6298C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448092B-15BE-47B9-8637-587A568F5D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DAE37155-8750-4D8A-B710-54C99E6FDAD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39E29EB8-D3FA-4C92-A88C-40573E723321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459094CE-B07A-4CFE-AA8E-DBAC0E2CAE9A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7B8CA49-58AD-4CA9-9744-51FD2B5970F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1019618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174141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1F766532-94D5-4905-90CB-AE5A0CC56F7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4F56DB6E-7AFB-4080-9B14-BE2336C9BE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4C1937F-6DAC-4714-B384-0930C765995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A7621B51-8FA3-4A1E-AB5E-2A2D8D9B1C7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B546F4FD-9D54-4A55-902F-53A1591F25F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6C1ADB71-D350-4BAF-A561-813D8F6F1804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F828A0C9-27DE-408B-A071-013C3B829DF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42649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</a:t>
            </a:r>
            <a:r>
              <a:rPr lang="cs-CZ" b="1" i="1" dirty="0" err="1">
                <a:solidFill>
                  <a:prstClr val="black"/>
                </a:solidFill>
                <a:latin typeface="Arial" panose="020B0604020202020204"/>
              </a:rPr>
              <a:t>ňský</a:t>
            </a: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 kraj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000580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1F766532-94D5-4905-90CB-AE5A0CC56F7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4F56DB6E-7AFB-4080-9B14-BE2336C9BE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4C1937F-6DAC-4714-B384-0930C765995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A7621B51-8FA3-4A1E-AB5E-2A2D8D9B1C7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B546F4FD-9D54-4A55-902F-53A1591F25F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6C1ADB71-D350-4BAF-A561-813D8F6F1804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F828A0C9-27DE-408B-A071-013C3B829DF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818504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800365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186DE98E-64F1-4DEB-9D7D-0D07C2DD797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293323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C6746EEB-1915-42EB-BFFB-BB6EA70983F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203299"/>
            <a:ext cx="2148963" cy="2123658"/>
            <a:chOff x="10258697" y="3526984"/>
            <a:chExt cx="2148963" cy="2123658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191CE715-20AD-4F2E-9780-9168F8EAF2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69B44A3D-38A0-48A8-906F-5578C962A1B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B49D5043-53F8-49E8-80A8-90882FA4BE9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A77F58A6-1850-4B84-B0D6-A6FB6676FFB4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CAF3F223-500C-4E35-B75B-F84E6BD45B57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12C22FB3-6FFA-4026-B991-49F228BBF65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1DB53A95-2E17-4C82-8CFF-51F66633489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078576" y="5288483"/>
            <a:ext cx="193686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ízkému počtu pacientů na JIP v týdnu, který předchází počátku predikcí (20.10.2021), nebylo možné predikce vytvořit.</a:t>
            </a:r>
          </a:p>
        </p:txBody>
      </p:sp>
    </p:spTree>
    <p:extLst>
      <p:ext uri="{BB962C8B-B14F-4D97-AF65-F5344CB8AC3E}">
        <p14:creationId xmlns:p14="http://schemas.microsoft.com/office/powerpoint/2010/main" val="39806648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388998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1F766532-94D5-4905-90CB-AE5A0CC56F7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4F56DB6E-7AFB-4080-9B14-BE2336C9BE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4C1937F-6DAC-4714-B384-0930C765995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A7621B51-8FA3-4A1E-AB5E-2A2D8D9B1C7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B546F4FD-9D54-4A55-902F-53A1591F25F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6C1ADB71-D350-4BAF-A561-813D8F6F1804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F828A0C9-27DE-408B-A071-013C3B829DF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766196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273753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1F766532-94D5-4905-90CB-AE5A0CC56F7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4F56DB6E-7AFB-4080-9B14-BE2336C9BE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4C1937F-6DAC-4714-B384-0930C765995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A7621B51-8FA3-4A1E-AB5E-2A2D8D9B1C7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B546F4FD-9D54-4A55-902F-53A1591F25F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6C1ADB71-D350-4BAF-A561-813D8F6F1804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F828A0C9-27DE-408B-A071-013C3B829DF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534751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428981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1F766532-94D5-4905-90CB-AE5A0CC56F7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4F56DB6E-7AFB-4080-9B14-BE2336C9BE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4C1937F-6DAC-4714-B384-0930C765995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A7621B51-8FA3-4A1E-AB5E-2A2D8D9B1C7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B546F4FD-9D54-4A55-902F-53A1591F25F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6C1ADB71-D350-4BAF-A561-813D8F6F1804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F828A0C9-27DE-408B-A071-013C3B829DF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96635841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8723559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1F766532-94D5-4905-90CB-AE5A0CC56F7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4F56DB6E-7AFB-4080-9B14-BE2336C9BE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4C1937F-6DAC-4714-B384-0930C765995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A7621B51-8FA3-4A1E-AB5E-2A2D8D9B1C7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B546F4FD-9D54-4A55-902F-53A1591F25F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6C1ADB71-D350-4BAF-A561-813D8F6F1804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F828A0C9-27DE-408B-A071-013C3B829DF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4986004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068272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D40C9CFB-75CF-46F8-A356-5A50867500A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293323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7060EA97-9614-4365-83F4-7C7AB5684C3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203299"/>
            <a:ext cx="2148963" cy="2123658"/>
            <a:chOff x="10258697" y="3526984"/>
            <a:chExt cx="2148963" cy="2123658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D6822B34-3482-40DD-87FD-3C0168773B9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F0DDADB-2FBA-4E02-8986-063B8FE358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81679892-9CCB-4B90-A11B-7D3DE2DD907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EED0F821-E89C-4D16-B7E5-6A8272EA4F22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5AE079F1-236D-40AF-9F5B-1141FF06B3C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467A05BD-ADB4-43FE-A956-AE1D1851A7B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1FAABAC4-82CB-4008-93F5-665090CAEE4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078576" y="5288483"/>
            <a:ext cx="193686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ízkému počtu pacientů na JIP v týdnu, který předchází počátku predikcí (20.10.2021), nebylo možné predikce vytvořit.</a:t>
            </a:r>
          </a:p>
        </p:txBody>
      </p:sp>
    </p:spTree>
    <p:extLst>
      <p:ext uri="{BB962C8B-B14F-4D97-AF65-F5344CB8AC3E}">
        <p14:creationId xmlns:p14="http://schemas.microsoft.com/office/powerpoint/2010/main" val="35975426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878040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0BF0F98E-EB73-4CFF-AE27-6E6695192DC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E71E5581-119C-4BA5-865A-35EE1D9142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2D1C895F-E51F-4D13-894F-9C587460D29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31613BDD-BFCE-40F3-8E97-F9246171A61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5671CDA4-D0C2-4638-AD5F-467A56D2A2E3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8AF6A924-573B-4C8C-9189-71547AA27019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FB6934FB-2406-479E-AE36-F2BDBBE7A0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196422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332930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0D1C34B4-D111-4E88-924C-A6FCECDA6BD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9E82627F-5350-4DEF-9339-3B9BE590D75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B7D5B35-74BA-4A4F-B06D-9CDFDAC54D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02E3F47-C0F9-4661-9D11-4D386232DE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2D04F27-F27B-430F-ADA4-7BBF665FE824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D8F0E822-0917-445D-B9B4-B52E8E2E966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F5FE79B1-9533-4C8D-A878-1FD1D271C3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91D39929-5ACB-4B3C-8FEF-3DB24D35EC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119668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2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ED4615DB-A15B-41E3-B580-C157953B7EA1}"/>
              </a:ext>
            </a:extLst>
          </p:cNvPr>
          <p:cNvSpPr txBox="1"/>
          <p:nvPr/>
        </p:nvSpPr>
        <p:spPr>
          <a:xfrm>
            <a:off x="1197108" y="2822167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3710367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573007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AE7061C9-228B-4B33-AD42-1158047B681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25A6CF87-F2E8-4DC4-8843-1E207E2111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0664051-25BB-4975-BCED-F0E4D14D1DD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BAEE5285-B14B-4683-AEE4-F42371CB2F9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972F06C4-1B64-435C-875D-99DA24A148BF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2F46D3BC-E18C-4887-82D9-C93E93FCB391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D2FF1AD1-3704-4D41-8D40-C99566D5F5E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4216708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8922887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5FB92420-D458-4CC1-9BE4-3777ED963EE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E6DA8E7-BE98-40F6-9CDB-30B33845F3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602F7511-1B3C-4A68-AD2F-035E7C0EA76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F23AAE06-BE44-4307-8327-C4386CA5DC7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5896B4D2-F4DB-47A1-B503-5A89A997B50E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0E1B5AA0-9B06-4550-B229-5CF5C27FE7C0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126F02DD-6A73-4A4F-A285-03D4C2F06D4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8567829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06/2021–09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5131767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95FC7024-5032-49E7-9182-4373F81573A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B0C069C9-DF49-4957-8297-4D7D7BD43A5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FDB4601-79ED-48E9-A2D8-42707CB6340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CBF8672D-85D5-4086-A616-59B27AE8AA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7F0B2864-9E52-44CE-96D4-D2DE5D343AF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8E220478-C13F-4E2C-8D21-57C32F880DE6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DDCDB460-97C5-4C2B-8D18-B683B6DCDA5A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0CCCE49B-0886-4EC9-9981-68078EBF1FB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54800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271737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0D1C34B4-D111-4E88-924C-A6FCECDA6BD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9E82627F-5350-4DEF-9339-3B9BE590D75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B7D5B35-74BA-4A4F-B06D-9CDFDAC54D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02E3F47-C0F9-4661-9D11-4D386232DE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2D04F27-F27B-430F-ADA4-7BBF665FE824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D8F0E822-0917-445D-B9B4-B52E8E2E966D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F5FE79B1-9533-4C8D-A878-1FD1D271C3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EF503F9D-45B5-4373-A1F7-86FB403C34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465251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3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4AC50B1B-01B9-4699-BD45-5E100DAFDD7C}"/>
              </a:ext>
            </a:extLst>
          </p:cNvPr>
          <p:cNvSpPr txBox="1"/>
          <p:nvPr/>
        </p:nvSpPr>
        <p:spPr>
          <a:xfrm>
            <a:off x="1197108" y="2822167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225913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610123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4DB589A-324E-478D-A9A4-179B7ABCC38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616442C-99D1-42A6-8BAF-D6B9BBA4A98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613E88-2178-4FD9-AE83-7EB251B47F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C9F4CC7C-C64B-4FCB-B1DB-016432A98C9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0CD1693-70D4-494B-AFAC-BED120BE852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1C7363C-63F2-42B0-BDFC-3203EDAF4390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9A9D7A7-9DA7-4F58-B5D2-F003B17CA5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C28B5BF1-55C1-47C4-B22B-78A66B2D9F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502084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7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4FE0894D-1765-4210-AC52-908A1D554F21}"/>
              </a:ext>
            </a:extLst>
          </p:cNvPr>
          <p:cNvSpPr txBox="1"/>
          <p:nvPr/>
        </p:nvSpPr>
        <p:spPr>
          <a:xfrm>
            <a:off x="1197108" y="2822167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97147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370429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4DB589A-324E-478D-A9A4-179B7ABCC38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616442C-99D1-42A6-8BAF-D6B9BBA4A98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613E88-2178-4FD9-AE83-7EB251B47F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C9F4CC7C-C64B-4FCB-B1DB-016432A98C9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0CD1693-70D4-494B-AFAC-BED120BE852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1C7363C-63F2-42B0-BDFC-3203EDAF4390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9A9D7A7-9DA7-4F58-B5D2-F003B17CA5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D591D0A4-AFC3-416D-ADC6-4D82E4ACDC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285570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7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AEC838F9-88FE-4F5A-A697-57FB03B0A8C3}"/>
              </a:ext>
            </a:extLst>
          </p:cNvPr>
          <p:cNvSpPr txBox="1"/>
          <p:nvPr/>
        </p:nvSpPr>
        <p:spPr>
          <a:xfrm>
            <a:off x="1197108" y="2822167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3373471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078513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1" name="Tabulka 6">
            <a:extLst>
              <a:ext uri="{FF2B5EF4-FFF2-40B4-BE49-F238E27FC236}">
                <a16:creationId xmlns:a16="http://schemas.microsoft.com/office/drawing/2014/main" id="{892AD482-5299-4474-8014-49CD3EA95A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6842529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2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C28FEFA5-6693-46AF-94F3-4E3B822A857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293323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85368214-8F46-434D-8EA0-81F9FD4F5E7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203299"/>
            <a:ext cx="2148963" cy="2123658"/>
            <a:chOff x="10258697" y="3526984"/>
            <a:chExt cx="2148963" cy="2123658"/>
          </a:xfrm>
        </p:grpSpPr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3F7A3917-090E-45E0-86EA-2112B14816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10AD04E0-CFFF-48BB-8EC1-A30F6E97E2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F3265840-768F-4A35-9494-E5BD7C04EBE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3" name="Obdélník 32">
              <a:extLst>
                <a:ext uri="{FF2B5EF4-FFF2-40B4-BE49-F238E27FC236}">
                  <a16:creationId xmlns:a16="http://schemas.microsoft.com/office/drawing/2014/main" id="{E8EBC452-97AE-406F-AE1B-BACC4C257F95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90BBD311-F18C-4D68-8CC0-49F9D6F5C7EC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7043CEC9-FFF3-4A35-9405-3A1D486679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9329E3CF-4285-449A-AFB1-9CF38004FC8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078576" y="5288483"/>
            <a:ext cx="193686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ízkému počtu pacientů na JIP v týdnu, který předchází počátku predikcí (20.10.2021), nebylo možné predikce vytvořit.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A9AE4475-5F0F-4925-957B-E5718AC2945A}"/>
              </a:ext>
            </a:extLst>
          </p:cNvPr>
          <p:cNvSpPr txBox="1"/>
          <p:nvPr/>
        </p:nvSpPr>
        <p:spPr>
          <a:xfrm>
            <a:off x="1197108" y="2822167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6086093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274261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4DB589A-324E-478D-A9A4-179B7ABCC38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616442C-99D1-42A6-8BAF-D6B9BBA4A98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613E88-2178-4FD9-AE83-7EB251B47F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C9F4CC7C-C64B-4FCB-B1DB-016432A98C9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0CD1693-70D4-494B-AFAC-BED120BE852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1C7363C-63F2-42B0-BDFC-3203EDAF4390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9A9D7A7-9DA7-4F58-B5D2-F003B17CA5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A59010E3-701F-4214-B090-3D3DAD92DB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193346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8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00A421DE-B5C5-4A56-A9BA-6AEA166A93E4}"/>
              </a:ext>
            </a:extLst>
          </p:cNvPr>
          <p:cNvSpPr txBox="1"/>
          <p:nvPr/>
        </p:nvSpPr>
        <p:spPr>
          <a:xfrm>
            <a:off x="1197108" y="2822167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2482887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205759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28768D8-2A24-491D-9A5C-64475C8F02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4DB589A-324E-478D-A9A4-179B7ABCC38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4616442C-99D1-42A6-8BAF-D6B9BBA4A98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B613E88-2178-4FD9-AE83-7EB251B47F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C9F4CC7C-C64B-4FCB-B1DB-016432A98C9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00CD1693-70D4-494B-AFAC-BED120BE852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1C7363C-63F2-42B0-BDFC-3203EDAF4390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59A9D7A7-9DA7-4F58-B5D2-F003B17CA5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37DE675A-57DA-4A31-96DE-CBFF53DB41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971331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4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B9184028-23D1-45FC-86CC-F46CEA08F989}"/>
              </a:ext>
            </a:extLst>
          </p:cNvPr>
          <p:cNvSpPr txBox="1"/>
          <p:nvPr/>
        </p:nvSpPr>
        <p:spPr>
          <a:xfrm>
            <a:off x="1197108" y="2822167"/>
            <a:ext cx="5838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Krátkodobé projekce prediktivních scénářů slouží jako přibližný ukazatel možných rizik, nenahrazují vlastní dlouhodobé prediktivní modely. U regionů s nízkými počty hospitalizovaných jsou regionální projekce zatíženy značnou variabilitou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343803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03</TotalTime>
  <Words>3946</Words>
  <Application>Microsoft Office PowerPoint</Application>
  <PresentationFormat>Širokoúhlá obrazovka</PresentationFormat>
  <Paragraphs>922</Paragraphs>
  <Slides>3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Epidemie COVID-19 v ČR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356</cp:revision>
  <dcterms:created xsi:type="dcterms:W3CDTF">2021-03-07T17:05:03Z</dcterms:created>
  <dcterms:modified xsi:type="dcterms:W3CDTF">2021-11-07T19:23:15Z</dcterms:modified>
</cp:coreProperties>
</file>